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8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9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16"/>
  </p:notesMasterIdLst>
  <p:sldIdLst>
    <p:sldId id="285" r:id="rId6"/>
    <p:sldId id="277" r:id="rId7"/>
    <p:sldId id="287" r:id="rId8"/>
    <p:sldId id="286" r:id="rId9"/>
    <p:sldId id="289" r:id="rId10"/>
    <p:sldId id="284" r:id="rId11"/>
    <p:sldId id="290" r:id="rId12"/>
    <p:sldId id="291" r:id="rId13"/>
    <p:sldId id="293" r:id="rId14"/>
    <p:sldId id="263" r:id="rId15"/>
  </p:sldIdLst>
  <p:sldSz cx="9144000" cy="6858000" type="screen4x3"/>
  <p:notesSz cx="6858000" cy="9144000"/>
  <p:defaultTextStyle>
    <a:defPPr>
      <a:defRPr lang="sr-Latn-R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68940" autoAdjust="0"/>
  </p:normalViewPr>
  <p:slideViewPr>
    <p:cSldViewPr>
      <p:cViewPr varScale="1">
        <p:scale>
          <a:sx n="60" d="100"/>
          <a:sy n="60" d="100"/>
        </p:scale>
        <p:origin x="1788" y="6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image" Target="../media/image9.jp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image" Target="../media/image9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F94B236-FE3C-4A9C-AF15-C6450D9478C6}" type="doc">
      <dgm:prSet loTypeId="urn:microsoft.com/office/officeart/2008/layout/HexagonCluster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BE134E68-3D01-4B9D-8A29-27057122BB06}">
      <dgm:prSet custT="1"/>
      <dgm:spPr/>
      <dgm:t>
        <a:bodyPr/>
        <a:lstStyle/>
        <a:p>
          <a:pPr rtl="0"/>
          <a:r>
            <a:rPr lang="hr-HR" sz="1800" dirty="0" smtClean="0"/>
            <a:t>Razvojna banka</a:t>
          </a:r>
          <a:endParaRPr lang="hr-HR" sz="1800" dirty="0"/>
        </a:p>
      </dgm:t>
    </dgm:pt>
    <dgm:pt modelId="{AED191AD-D548-426A-8D19-DB7D97191ACE}" type="parTrans" cxnId="{4A8FD9E2-280E-446C-8833-D22320735A8A}">
      <dgm:prSet/>
      <dgm:spPr/>
      <dgm:t>
        <a:bodyPr/>
        <a:lstStyle/>
        <a:p>
          <a:endParaRPr lang="hr-HR" sz="1800"/>
        </a:p>
      </dgm:t>
    </dgm:pt>
    <dgm:pt modelId="{E7322BC7-7310-4404-9F06-95087165C192}" type="sibTrans" cxnId="{4A8FD9E2-280E-446C-8833-D22320735A8A}">
      <dgm:prSet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6000" r="-16000"/>
          </a:stretch>
        </a:blipFill>
      </dgm:spPr>
      <dgm:t>
        <a:bodyPr/>
        <a:lstStyle/>
        <a:p>
          <a:endParaRPr lang="hr-HR"/>
        </a:p>
      </dgm:t>
    </dgm:pt>
    <dgm:pt modelId="{9F38958E-580C-4F99-92CE-FAF9241366F1}">
      <dgm:prSet custT="1"/>
      <dgm:spPr/>
      <dgm:t>
        <a:bodyPr/>
        <a:lstStyle/>
        <a:p>
          <a:pPr rtl="0"/>
          <a:r>
            <a:rPr lang="hr-HR" sz="1800" dirty="0" smtClean="0"/>
            <a:t>Izvozna banka</a:t>
          </a:r>
          <a:endParaRPr lang="hr-HR" sz="1800" dirty="0"/>
        </a:p>
      </dgm:t>
    </dgm:pt>
    <dgm:pt modelId="{6CE7E768-FF38-4658-B3D3-98E1AD8E6216}" type="parTrans" cxnId="{0A10BA13-4177-4C98-94B2-2492D5C8A590}">
      <dgm:prSet/>
      <dgm:spPr/>
      <dgm:t>
        <a:bodyPr/>
        <a:lstStyle/>
        <a:p>
          <a:endParaRPr lang="hr-HR" sz="1800"/>
        </a:p>
      </dgm:t>
    </dgm:pt>
    <dgm:pt modelId="{DDC72C19-D2DC-49F8-9F49-106799271A37}" type="sibTrans" cxnId="{0A10BA13-4177-4C98-94B2-2492D5C8A590}">
      <dgm:prSet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</dgm:spPr>
      <dgm:t>
        <a:bodyPr/>
        <a:lstStyle/>
        <a:p>
          <a:endParaRPr lang="hr-HR" sz="1800"/>
        </a:p>
      </dgm:t>
    </dgm:pt>
    <dgm:pt modelId="{BAE19998-2F29-43A4-AD3F-3B7820E70DAF}">
      <dgm:prSet custT="1"/>
      <dgm:spPr/>
      <dgm:t>
        <a:bodyPr/>
        <a:lstStyle/>
        <a:p>
          <a:pPr rtl="0"/>
          <a:r>
            <a:rPr lang="hr-HR" sz="1800" dirty="0" smtClean="0"/>
            <a:t>Izvozno kreditna agencija</a:t>
          </a:r>
          <a:endParaRPr lang="hr-HR" sz="1800" dirty="0"/>
        </a:p>
      </dgm:t>
    </dgm:pt>
    <dgm:pt modelId="{32247028-974E-4982-BEAB-4B0B5FFEF90E}" type="parTrans" cxnId="{87E8D283-EB3F-4B8F-9378-B6343E443FF0}">
      <dgm:prSet/>
      <dgm:spPr/>
      <dgm:t>
        <a:bodyPr/>
        <a:lstStyle/>
        <a:p>
          <a:endParaRPr lang="hr-HR" sz="1800"/>
        </a:p>
      </dgm:t>
    </dgm:pt>
    <dgm:pt modelId="{9F26AA72-F958-40B7-AF7A-B88FEEA68D83}" type="sibTrans" cxnId="{87E8D283-EB3F-4B8F-9378-B6343E443FF0}">
      <dgm:prSet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5000" r="-15000"/>
          </a:stretch>
        </a:blipFill>
      </dgm:spPr>
      <dgm:t>
        <a:bodyPr/>
        <a:lstStyle/>
        <a:p>
          <a:endParaRPr lang="hr-HR" sz="1800"/>
        </a:p>
      </dgm:t>
    </dgm:pt>
    <dgm:pt modelId="{A78E99E2-CCBC-472B-95C1-1BCF0A2312C2}" type="pres">
      <dgm:prSet presAssocID="{2F94B236-FE3C-4A9C-AF15-C6450D9478C6}" presName="Name0" presStyleCnt="0">
        <dgm:presLayoutVars>
          <dgm:chMax val="21"/>
          <dgm:chPref val="21"/>
        </dgm:presLayoutVars>
      </dgm:prSet>
      <dgm:spPr/>
      <dgm:t>
        <a:bodyPr/>
        <a:lstStyle/>
        <a:p>
          <a:endParaRPr lang="hr-HR"/>
        </a:p>
      </dgm:t>
    </dgm:pt>
    <dgm:pt modelId="{1E749441-3B12-4D5E-BC7D-A8E72A5CF85C}" type="pres">
      <dgm:prSet presAssocID="{BE134E68-3D01-4B9D-8A29-27057122BB06}" presName="text1" presStyleCnt="0"/>
      <dgm:spPr/>
    </dgm:pt>
    <dgm:pt modelId="{374C5424-CFD0-40EE-B460-583E8926D687}" type="pres">
      <dgm:prSet presAssocID="{BE134E68-3D01-4B9D-8A29-27057122BB06}" presName="textRepeatNode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A0A55C4D-9ABB-4D6A-90AA-D52CEAFDD7BE}" type="pres">
      <dgm:prSet presAssocID="{BE134E68-3D01-4B9D-8A29-27057122BB06}" presName="textaccent1" presStyleCnt="0"/>
      <dgm:spPr/>
    </dgm:pt>
    <dgm:pt modelId="{A8255CCE-E08F-431F-A066-C2F2042823D4}" type="pres">
      <dgm:prSet presAssocID="{BE134E68-3D01-4B9D-8A29-27057122BB06}" presName="accentRepeatNode" presStyleLbl="solidAlignAcc1" presStyleIdx="0" presStyleCnt="6"/>
      <dgm:spPr/>
    </dgm:pt>
    <dgm:pt modelId="{939DBAD1-880F-43D5-8519-8C3FCFFCDC8C}" type="pres">
      <dgm:prSet presAssocID="{E7322BC7-7310-4404-9F06-95087165C192}" presName="image1" presStyleCnt="0"/>
      <dgm:spPr/>
    </dgm:pt>
    <dgm:pt modelId="{0E20A13A-4F47-4700-A0F5-66A4B87D4975}" type="pres">
      <dgm:prSet presAssocID="{E7322BC7-7310-4404-9F06-95087165C192}" presName="imageRepeatNode" presStyleLbl="alignAcc1" presStyleIdx="0" presStyleCnt="3"/>
      <dgm:spPr/>
      <dgm:t>
        <a:bodyPr/>
        <a:lstStyle/>
        <a:p>
          <a:endParaRPr lang="hr-HR"/>
        </a:p>
      </dgm:t>
    </dgm:pt>
    <dgm:pt modelId="{25AC94CE-02BD-47E1-A7A2-FF8D77A9C999}" type="pres">
      <dgm:prSet presAssocID="{E7322BC7-7310-4404-9F06-95087165C192}" presName="imageaccent1" presStyleCnt="0"/>
      <dgm:spPr/>
    </dgm:pt>
    <dgm:pt modelId="{09467EE4-8D0B-4180-88BC-2532F706DD93}" type="pres">
      <dgm:prSet presAssocID="{E7322BC7-7310-4404-9F06-95087165C192}" presName="accentRepeatNode" presStyleLbl="solidAlignAcc1" presStyleIdx="1" presStyleCnt="6"/>
      <dgm:spPr/>
    </dgm:pt>
    <dgm:pt modelId="{F08B8185-811C-4BC0-8FD8-B07652249D61}" type="pres">
      <dgm:prSet presAssocID="{9F38958E-580C-4F99-92CE-FAF9241366F1}" presName="text2" presStyleCnt="0"/>
      <dgm:spPr/>
    </dgm:pt>
    <dgm:pt modelId="{F46A0CF9-A397-495D-BED0-E2D5CD742695}" type="pres">
      <dgm:prSet presAssocID="{9F38958E-580C-4F99-92CE-FAF9241366F1}" presName="textRepeatNode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BBA5441E-C5F5-455A-94D8-D4FAE68A4251}" type="pres">
      <dgm:prSet presAssocID="{9F38958E-580C-4F99-92CE-FAF9241366F1}" presName="textaccent2" presStyleCnt="0"/>
      <dgm:spPr/>
    </dgm:pt>
    <dgm:pt modelId="{401627CB-A6E2-4DFF-918F-D43ECDB7E8B8}" type="pres">
      <dgm:prSet presAssocID="{9F38958E-580C-4F99-92CE-FAF9241366F1}" presName="accentRepeatNode" presStyleLbl="solidAlignAcc1" presStyleIdx="2" presStyleCnt="6"/>
      <dgm:spPr/>
    </dgm:pt>
    <dgm:pt modelId="{701F90B1-4BC4-4790-8C66-AC8FED8E878F}" type="pres">
      <dgm:prSet presAssocID="{DDC72C19-D2DC-49F8-9F49-106799271A37}" presName="image2" presStyleCnt="0"/>
      <dgm:spPr/>
    </dgm:pt>
    <dgm:pt modelId="{362F0EB0-DF8E-4DA7-A751-B87497285E70}" type="pres">
      <dgm:prSet presAssocID="{DDC72C19-D2DC-49F8-9F49-106799271A37}" presName="imageRepeatNode" presStyleLbl="alignAcc1" presStyleIdx="1" presStyleCnt="3"/>
      <dgm:spPr/>
      <dgm:t>
        <a:bodyPr/>
        <a:lstStyle/>
        <a:p>
          <a:endParaRPr lang="hr-HR"/>
        </a:p>
      </dgm:t>
    </dgm:pt>
    <dgm:pt modelId="{1922B8BE-B351-4FBD-B0CF-DF85EBD3C144}" type="pres">
      <dgm:prSet presAssocID="{DDC72C19-D2DC-49F8-9F49-106799271A37}" presName="imageaccent2" presStyleCnt="0"/>
      <dgm:spPr/>
    </dgm:pt>
    <dgm:pt modelId="{AD1D7DEC-6B2D-45EC-A67C-6A4B02AD2219}" type="pres">
      <dgm:prSet presAssocID="{DDC72C19-D2DC-49F8-9F49-106799271A37}" presName="accentRepeatNode" presStyleLbl="solidAlignAcc1" presStyleIdx="3" presStyleCnt="6"/>
      <dgm:spPr/>
    </dgm:pt>
    <dgm:pt modelId="{26233138-82DB-437D-A799-D9BC9309799A}" type="pres">
      <dgm:prSet presAssocID="{BAE19998-2F29-43A4-AD3F-3B7820E70DAF}" presName="text3" presStyleCnt="0"/>
      <dgm:spPr/>
    </dgm:pt>
    <dgm:pt modelId="{30DDEAA2-801C-4551-BF0F-45AC41873992}" type="pres">
      <dgm:prSet presAssocID="{BAE19998-2F29-43A4-AD3F-3B7820E70DAF}" presName="textRepeatNode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17C31516-72CA-4CD1-BA88-70980721BACF}" type="pres">
      <dgm:prSet presAssocID="{BAE19998-2F29-43A4-AD3F-3B7820E70DAF}" presName="textaccent3" presStyleCnt="0"/>
      <dgm:spPr/>
    </dgm:pt>
    <dgm:pt modelId="{7B697F36-30A2-4386-B9B9-0B5D4015730F}" type="pres">
      <dgm:prSet presAssocID="{BAE19998-2F29-43A4-AD3F-3B7820E70DAF}" presName="accentRepeatNode" presStyleLbl="solidAlignAcc1" presStyleIdx="4" presStyleCnt="6"/>
      <dgm:spPr/>
    </dgm:pt>
    <dgm:pt modelId="{A0E8CB4D-30F5-4A6F-B43A-053EF9A2D09B}" type="pres">
      <dgm:prSet presAssocID="{9F26AA72-F958-40B7-AF7A-B88FEEA68D83}" presName="image3" presStyleCnt="0"/>
      <dgm:spPr/>
    </dgm:pt>
    <dgm:pt modelId="{E41B6358-3C00-47AB-A7C1-94845E2D3B74}" type="pres">
      <dgm:prSet presAssocID="{9F26AA72-F958-40B7-AF7A-B88FEEA68D83}" presName="imageRepeatNode" presStyleLbl="alignAcc1" presStyleIdx="2" presStyleCnt="3"/>
      <dgm:spPr/>
      <dgm:t>
        <a:bodyPr/>
        <a:lstStyle/>
        <a:p>
          <a:endParaRPr lang="hr-HR"/>
        </a:p>
      </dgm:t>
    </dgm:pt>
    <dgm:pt modelId="{6B34F48C-93DD-436C-B382-1711991A3204}" type="pres">
      <dgm:prSet presAssocID="{9F26AA72-F958-40B7-AF7A-B88FEEA68D83}" presName="imageaccent3" presStyleCnt="0"/>
      <dgm:spPr/>
    </dgm:pt>
    <dgm:pt modelId="{CDDF4ADE-DCFA-458D-B588-C2584237BE7F}" type="pres">
      <dgm:prSet presAssocID="{9F26AA72-F958-40B7-AF7A-B88FEEA68D83}" presName="accentRepeatNode" presStyleLbl="solidAlignAcc1" presStyleIdx="5" presStyleCnt="6"/>
      <dgm:spPr/>
    </dgm:pt>
  </dgm:ptLst>
  <dgm:cxnLst>
    <dgm:cxn modelId="{B91588D5-D75B-4866-9F32-F2193F080F0E}" type="presOf" srcId="{9F38958E-580C-4F99-92CE-FAF9241366F1}" destId="{F46A0CF9-A397-495D-BED0-E2D5CD742695}" srcOrd="0" destOrd="0" presId="urn:microsoft.com/office/officeart/2008/layout/HexagonCluster"/>
    <dgm:cxn modelId="{C7BBED79-15DE-46C0-A9B3-2D82C6AF8034}" type="presOf" srcId="{9F26AA72-F958-40B7-AF7A-B88FEEA68D83}" destId="{E41B6358-3C00-47AB-A7C1-94845E2D3B74}" srcOrd="0" destOrd="0" presId="urn:microsoft.com/office/officeart/2008/layout/HexagonCluster"/>
    <dgm:cxn modelId="{AB29D7B6-9303-4FA4-8949-D44883B0433E}" type="presOf" srcId="{BE134E68-3D01-4B9D-8A29-27057122BB06}" destId="{374C5424-CFD0-40EE-B460-583E8926D687}" srcOrd="0" destOrd="0" presId="urn:microsoft.com/office/officeart/2008/layout/HexagonCluster"/>
    <dgm:cxn modelId="{C0434B39-A06F-4F17-808C-A0703C318C09}" type="presOf" srcId="{E7322BC7-7310-4404-9F06-95087165C192}" destId="{0E20A13A-4F47-4700-A0F5-66A4B87D4975}" srcOrd="0" destOrd="0" presId="urn:microsoft.com/office/officeart/2008/layout/HexagonCluster"/>
    <dgm:cxn modelId="{0A10BA13-4177-4C98-94B2-2492D5C8A590}" srcId="{2F94B236-FE3C-4A9C-AF15-C6450D9478C6}" destId="{9F38958E-580C-4F99-92CE-FAF9241366F1}" srcOrd="1" destOrd="0" parTransId="{6CE7E768-FF38-4658-B3D3-98E1AD8E6216}" sibTransId="{DDC72C19-D2DC-49F8-9F49-106799271A37}"/>
    <dgm:cxn modelId="{998951AC-E353-4BDD-89BE-2ED38F2AD6A3}" type="presOf" srcId="{BAE19998-2F29-43A4-AD3F-3B7820E70DAF}" destId="{30DDEAA2-801C-4551-BF0F-45AC41873992}" srcOrd="0" destOrd="0" presId="urn:microsoft.com/office/officeart/2008/layout/HexagonCluster"/>
    <dgm:cxn modelId="{B79FD3C5-70A9-4418-9D7B-3E3ECFC36FEF}" type="presOf" srcId="{2F94B236-FE3C-4A9C-AF15-C6450D9478C6}" destId="{A78E99E2-CCBC-472B-95C1-1BCF0A2312C2}" srcOrd="0" destOrd="0" presId="urn:microsoft.com/office/officeart/2008/layout/HexagonCluster"/>
    <dgm:cxn modelId="{4A8FD9E2-280E-446C-8833-D22320735A8A}" srcId="{2F94B236-FE3C-4A9C-AF15-C6450D9478C6}" destId="{BE134E68-3D01-4B9D-8A29-27057122BB06}" srcOrd="0" destOrd="0" parTransId="{AED191AD-D548-426A-8D19-DB7D97191ACE}" sibTransId="{E7322BC7-7310-4404-9F06-95087165C192}"/>
    <dgm:cxn modelId="{87E8D283-EB3F-4B8F-9378-B6343E443FF0}" srcId="{2F94B236-FE3C-4A9C-AF15-C6450D9478C6}" destId="{BAE19998-2F29-43A4-AD3F-3B7820E70DAF}" srcOrd="2" destOrd="0" parTransId="{32247028-974E-4982-BEAB-4B0B5FFEF90E}" sibTransId="{9F26AA72-F958-40B7-AF7A-B88FEEA68D83}"/>
    <dgm:cxn modelId="{A01A2756-A615-4911-8294-C9D89A03985B}" type="presOf" srcId="{DDC72C19-D2DC-49F8-9F49-106799271A37}" destId="{362F0EB0-DF8E-4DA7-A751-B87497285E70}" srcOrd="0" destOrd="0" presId="urn:microsoft.com/office/officeart/2008/layout/HexagonCluster"/>
    <dgm:cxn modelId="{697CFB45-0612-4819-A543-88D4ACD8440A}" type="presParOf" srcId="{A78E99E2-CCBC-472B-95C1-1BCF0A2312C2}" destId="{1E749441-3B12-4D5E-BC7D-A8E72A5CF85C}" srcOrd="0" destOrd="0" presId="urn:microsoft.com/office/officeart/2008/layout/HexagonCluster"/>
    <dgm:cxn modelId="{76A439BF-B6E7-4A1E-AF2A-9E72EB608DF4}" type="presParOf" srcId="{1E749441-3B12-4D5E-BC7D-A8E72A5CF85C}" destId="{374C5424-CFD0-40EE-B460-583E8926D687}" srcOrd="0" destOrd="0" presId="urn:microsoft.com/office/officeart/2008/layout/HexagonCluster"/>
    <dgm:cxn modelId="{FB08EE47-D746-47F6-A3CE-E30A72B24E00}" type="presParOf" srcId="{A78E99E2-CCBC-472B-95C1-1BCF0A2312C2}" destId="{A0A55C4D-9ABB-4D6A-90AA-D52CEAFDD7BE}" srcOrd="1" destOrd="0" presId="urn:microsoft.com/office/officeart/2008/layout/HexagonCluster"/>
    <dgm:cxn modelId="{66B4C9F0-7EB7-45D1-A750-7E74E95351F8}" type="presParOf" srcId="{A0A55C4D-9ABB-4D6A-90AA-D52CEAFDD7BE}" destId="{A8255CCE-E08F-431F-A066-C2F2042823D4}" srcOrd="0" destOrd="0" presId="urn:microsoft.com/office/officeart/2008/layout/HexagonCluster"/>
    <dgm:cxn modelId="{11D61FD7-794E-4DF4-90F7-FCD89C134603}" type="presParOf" srcId="{A78E99E2-CCBC-472B-95C1-1BCF0A2312C2}" destId="{939DBAD1-880F-43D5-8519-8C3FCFFCDC8C}" srcOrd="2" destOrd="0" presId="urn:microsoft.com/office/officeart/2008/layout/HexagonCluster"/>
    <dgm:cxn modelId="{A062C5FB-A989-4C05-89DA-2CD22DA56E87}" type="presParOf" srcId="{939DBAD1-880F-43D5-8519-8C3FCFFCDC8C}" destId="{0E20A13A-4F47-4700-A0F5-66A4B87D4975}" srcOrd="0" destOrd="0" presId="urn:microsoft.com/office/officeart/2008/layout/HexagonCluster"/>
    <dgm:cxn modelId="{9CE9A821-A898-42DC-8544-40E18C4B7CDF}" type="presParOf" srcId="{A78E99E2-CCBC-472B-95C1-1BCF0A2312C2}" destId="{25AC94CE-02BD-47E1-A7A2-FF8D77A9C999}" srcOrd="3" destOrd="0" presId="urn:microsoft.com/office/officeart/2008/layout/HexagonCluster"/>
    <dgm:cxn modelId="{F5FEACF8-826A-4A1B-8FD0-85A29DE3B969}" type="presParOf" srcId="{25AC94CE-02BD-47E1-A7A2-FF8D77A9C999}" destId="{09467EE4-8D0B-4180-88BC-2532F706DD93}" srcOrd="0" destOrd="0" presId="urn:microsoft.com/office/officeart/2008/layout/HexagonCluster"/>
    <dgm:cxn modelId="{15BFCBA5-EE61-4620-9961-9FE841718D6C}" type="presParOf" srcId="{A78E99E2-CCBC-472B-95C1-1BCF0A2312C2}" destId="{F08B8185-811C-4BC0-8FD8-B07652249D61}" srcOrd="4" destOrd="0" presId="urn:microsoft.com/office/officeart/2008/layout/HexagonCluster"/>
    <dgm:cxn modelId="{1FDB609E-D5A2-44C3-B5E9-EE44D7EB2947}" type="presParOf" srcId="{F08B8185-811C-4BC0-8FD8-B07652249D61}" destId="{F46A0CF9-A397-495D-BED0-E2D5CD742695}" srcOrd="0" destOrd="0" presId="urn:microsoft.com/office/officeart/2008/layout/HexagonCluster"/>
    <dgm:cxn modelId="{422C33CC-4A13-411A-BADD-DCF41D41A073}" type="presParOf" srcId="{A78E99E2-CCBC-472B-95C1-1BCF0A2312C2}" destId="{BBA5441E-C5F5-455A-94D8-D4FAE68A4251}" srcOrd="5" destOrd="0" presId="urn:microsoft.com/office/officeart/2008/layout/HexagonCluster"/>
    <dgm:cxn modelId="{B1519D58-AF50-4753-80F5-E94EFEBFB465}" type="presParOf" srcId="{BBA5441E-C5F5-455A-94D8-D4FAE68A4251}" destId="{401627CB-A6E2-4DFF-918F-D43ECDB7E8B8}" srcOrd="0" destOrd="0" presId="urn:microsoft.com/office/officeart/2008/layout/HexagonCluster"/>
    <dgm:cxn modelId="{5DF73D4C-B61D-4477-97BD-584B75DB1511}" type="presParOf" srcId="{A78E99E2-CCBC-472B-95C1-1BCF0A2312C2}" destId="{701F90B1-4BC4-4790-8C66-AC8FED8E878F}" srcOrd="6" destOrd="0" presId="urn:microsoft.com/office/officeart/2008/layout/HexagonCluster"/>
    <dgm:cxn modelId="{F3F0E550-6A9A-4A13-9047-7F1DBB1C6B77}" type="presParOf" srcId="{701F90B1-4BC4-4790-8C66-AC8FED8E878F}" destId="{362F0EB0-DF8E-4DA7-A751-B87497285E70}" srcOrd="0" destOrd="0" presId="urn:microsoft.com/office/officeart/2008/layout/HexagonCluster"/>
    <dgm:cxn modelId="{1BB7502A-2EF2-4080-97DB-FBBDCD4B84AE}" type="presParOf" srcId="{A78E99E2-CCBC-472B-95C1-1BCF0A2312C2}" destId="{1922B8BE-B351-4FBD-B0CF-DF85EBD3C144}" srcOrd="7" destOrd="0" presId="urn:microsoft.com/office/officeart/2008/layout/HexagonCluster"/>
    <dgm:cxn modelId="{ED8C2DAB-D433-475A-AF2A-BFEFEE3CD4DD}" type="presParOf" srcId="{1922B8BE-B351-4FBD-B0CF-DF85EBD3C144}" destId="{AD1D7DEC-6B2D-45EC-A67C-6A4B02AD2219}" srcOrd="0" destOrd="0" presId="urn:microsoft.com/office/officeart/2008/layout/HexagonCluster"/>
    <dgm:cxn modelId="{583F32FB-0E1F-470D-BE3A-833EAF519D28}" type="presParOf" srcId="{A78E99E2-CCBC-472B-95C1-1BCF0A2312C2}" destId="{26233138-82DB-437D-A799-D9BC9309799A}" srcOrd="8" destOrd="0" presId="urn:microsoft.com/office/officeart/2008/layout/HexagonCluster"/>
    <dgm:cxn modelId="{6E1AF4A4-3B1F-4FE3-9646-9C55A2AF98C4}" type="presParOf" srcId="{26233138-82DB-437D-A799-D9BC9309799A}" destId="{30DDEAA2-801C-4551-BF0F-45AC41873992}" srcOrd="0" destOrd="0" presId="urn:microsoft.com/office/officeart/2008/layout/HexagonCluster"/>
    <dgm:cxn modelId="{F5A12EA0-2F11-41AE-9D72-B6F201B38B5D}" type="presParOf" srcId="{A78E99E2-CCBC-472B-95C1-1BCF0A2312C2}" destId="{17C31516-72CA-4CD1-BA88-70980721BACF}" srcOrd="9" destOrd="0" presId="urn:microsoft.com/office/officeart/2008/layout/HexagonCluster"/>
    <dgm:cxn modelId="{CFBB01AB-3CF9-416C-A54E-3ABC8BDB5966}" type="presParOf" srcId="{17C31516-72CA-4CD1-BA88-70980721BACF}" destId="{7B697F36-30A2-4386-B9B9-0B5D4015730F}" srcOrd="0" destOrd="0" presId="urn:microsoft.com/office/officeart/2008/layout/HexagonCluster"/>
    <dgm:cxn modelId="{839AD811-6098-4921-9DE1-4AE91CAA08B3}" type="presParOf" srcId="{A78E99E2-CCBC-472B-95C1-1BCF0A2312C2}" destId="{A0E8CB4D-30F5-4A6F-B43A-053EF9A2D09B}" srcOrd="10" destOrd="0" presId="urn:microsoft.com/office/officeart/2008/layout/HexagonCluster"/>
    <dgm:cxn modelId="{C2A498D6-BB59-44C0-8712-C28F6C51CE16}" type="presParOf" srcId="{A0E8CB4D-30F5-4A6F-B43A-053EF9A2D09B}" destId="{E41B6358-3C00-47AB-A7C1-94845E2D3B74}" srcOrd="0" destOrd="0" presId="urn:microsoft.com/office/officeart/2008/layout/HexagonCluster"/>
    <dgm:cxn modelId="{DFB11B18-7F26-4273-A306-BC994644AED9}" type="presParOf" srcId="{A78E99E2-CCBC-472B-95C1-1BCF0A2312C2}" destId="{6B34F48C-93DD-436C-B382-1711991A3204}" srcOrd="11" destOrd="0" presId="urn:microsoft.com/office/officeart/2008/layout/HexagonCluster"/>
    <dgm:cxn modelId="{2902D130-5B9C-4A2D-B73D-5000A557D56B}" type="presParOf" srcId="{6B34F48C-93DD-436C-B382-1711991A3204}" destId="{CDDF4ADE-DCFA-458D-B588-C2584237BE7F}" srcOrd="0" destOrd="0" presId="urn:microsoft.com/office/officeart/2008/layout/HexagonCluster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6A1E43B-7874-4DB4-8B21-47FD816CFAED}" type="doc">
      <dgm:prSet loTypeId="urn:microsoft.com/office/officeart/2005/8/layout/vList5" loCatId="list" qsTypeId="urn:microsoft.com/office/officeart/2005/8/quickstyle/simple2" qsCatId="simple" csTypeId="urn:microsoft.com/office/officeart/2005/8/colors/accent1_1" csCatId="accent1" phldr="1"/>
      <dgm:spPr/>
      <dgm:t>
        <a:bodyPr/>
        <a:lstStyle/>
        <a:p>
          <a:endParaRPr lang="hr-HR"/>
        </a:p>
      </dgm:t>
    </dgm:pt>
    <dgm:pt modelId="{D9677CDF-ED68-49AC-923A-F1FBEBE74441}">
      <dgm:prSet phldrT="[Text]" cust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hr-HR" sz="2000" b="1" dirty="0"/>
            <a:t>100,8 MLRD. KUNA</a:t>
          </a:r>
        </a:p>
      </dgm:t>
    </dgm:pt>
    <dgm:pt modelId="{FF07F42F-45AC-476C-B238-8BFDD1503CB8}" type="parTrans" cxnId="{72A79A0E-5AE3-4CFF-8000-3D959D81828A}">
      <dgm:prSet/>
      <dgm:spPr/>
      <dgm:t>
        <a:bodyPr/>
        <a:lstStyle/>
        <a:p>
          <a:endParaRPr lang="hr-HR" sz="1400"/>
        </a:p>
      </dgm:t>
    </dgm:pt>
    <dgm:pt modelId="{9684F814-6E68-477C-920D-0D5D8FFF67E2}" type="sibTrans" cxnId="{72A79A0E-5AE3-4CFF-8000-3D959D81828A}">
      <dgm:prSet/>
      <dgm:spPr/>
      <dgm:t>
        <a:bodyPr/>
        <a:lstStyle/>
        <a:p>
          <a:endParaRPr lang="hr-HR" sz="1400"/>
        </a:p>
      </dgm:t>
    </dgm:pt>
    <dgm:pt modelId="{6CFBD080-9470-4899-A33A-010612E3F8C6}">
      <dgm:prSet phldrT="[Text]" custT="1"/>
      <dgm:spPr/>
      <dgm:t>
        <a:bodyPr anchor="ctr"/>
        <a:lstStyle/>
        <a:p>
          <a:r>
            <a:rPr lang="hr-HR" sz="1400" b="1" dirty="0"/>
            <a:t>UKUPNA KREDITNA AKTIVNOST</a:t>
          </a:r>
        </a:p>
      </dgm:t>
    </dgm:pt>
    <dgm:pt modelId="{63D27199-D4B0-48E5-B2E8-71E61B220AAB}" type="parTrans" cxnId="{59E95C05-B544-49A8-95E7-7B685B4C8C59}">
      <dgm:prSet/>
      <dgm:spPr/>
      <dgm:t>
        <a:bodyPr/>
        <a:lstStyle/>
        <a:p>
          <a:endParaRPr lang="hr-HR" sz="1400"/>
        </a:p>
      </dgm:t>
    </dgm:pt>
    <dgm:pt modelId="{B91AB1E2-12D5-4220-AD99-6B644D8B6086}" type="sibTrans" cxnId="{59E95C05-B544-49A8-95E7-7B685B4C8C59}">
      <dgm:prSet/>
      <dgm:spPr/>
      <dgm:t>
        <a:bodyPr/>
        <a:lstStyle/>
        <a:p>
          <a:endParaRPr lang="hr-HR" sz="1400"/>
        </a:p>
      </dgm:t>
    </dgm:pt>
    <dgm:pt modelId="{48ABCC36-E375-468A-B792-FB5D6778AC3E}">
      <dgm:prSet phldrT="[Text]" cust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hr-HR" sz="2000" b="1" dirty="0"/>
            <a:t>27,2 MLRD. KUNA</a:t>
          </a:r>
        </a:p>
      </dgm:t>
    </dgm:pt>
    <dgm:pt modelId="{5B89609C-8D40-4B3B-ADD8-DC6AD1A5D928}" type="parTrans" cxnId="{2CBD74E3-7871-4112-811C-C0A3087CD7D1}">
      <dgm:prSet/>
      <dgm:spPr/>
      <dgm:t>
        <a:bodyPr/>
        <a:lstStyle/>
        <a:p>
          <a:endParaRPr lang="hr-HR" sz="1400"/>
        </a:p>
      </dgm:t>
    </dgm:pt>
    <dgm:pt modelId="{FFDF57FD-EACB-40E2-A467-192AE5EF66AC}" type="sibTrans" cxnId="{2CBD74E3-7871-4112-811C-C0A3087CD7D1}">
      <dgm:prSet/>
      <dgm:spPr/>
      <dgm:t>
        <a:bodyPr/>
        <a:lstStyle/>
        <a:p>
          <a:endParaRPr lang="hr-HR" sz="1400"/>
        </a:p>
      </dgm:t>
    </dgm:pt>
    <dgm:pt modelId="{30700EC0-7A1F-4DE8-920A-FBB419DA8F04}">
      <dgm:prSet phldrT="[Text]" custT="1"/>
      <dgm:spPr/>
      <dgm:t>
        <a:bodyPr anchor="ctr"/>
        <a:lstStyle/>
        <a:p>
          <a:r>
            <a:rPr lang="hr-HR" sz="1400" b="1" dirty="0"/>
            <a:t>OSIGURANJE IZVOZNIH POSLOVA</a:t>
          </a:r>
        </a:p>
      </dgm:t>
    </dgm:pt>
    <dgm:pt modelId="{F6B0A089-8B27-497F-84EE-50EDAF9449BB}" type="parTrans" cxnId="{3890A4FA-020E-4D95-BCC6-9B7F07A9B9E5}">
      <dgm:prSet/>
      <dgm:spPr/>
      <dgm:t>
        <a:bodyPr/>
        <a:lstStyle/>
        <a:p>
          <a:endParaRPr lang="hr-HR" sz="1400"/>
        </a:p>
      </dgm:t>
    </dgm:pt>
    <dgm:pt modelId="{BE506774-9D5D-40A9-9B73-6DE36E5C081E}" type="sibTrans" cxnId="{3890A4FA-020E-4D95-BCC6-9B7F07A9B9E5}">
      <dgm:prSet/>
      <dgm:spPr/>
      <dgm:t>
        <a:bodyPr/>
        <a:lstStyle/>
        <a:p>
          <a:endParaRPr lang="hr-HR" sz="1400"/>
        </a:p>
      </dgm:t>
    </dgm:pt>
    <dgm:pt modelId="{E8F21B1C-F7D7-4E75-A3E5-A406BFEF11C4}">
      <dgm:prSet phldrT="[Text]" cust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hr-HR" sz="2000" b="1" dirty="0"/>
            <a:t>27,8 MLRD. KUNA</a:t>
          </a:r>
        </a:p>
      </dgm:t>
    </dgm:pt>
    <dgm:pt modelId="{0E2C5943-2C22-4E53-BD8B-3ACA3CDB6B29}" type="parTrans" cxnId="{9EA7FE40-14E3-40C0-9D43-27B4998E44C2}">
      <dgm:prSet/>
      <dgm:spPr/>
      <dgm:t>
        <a:bodyPr/>
        <a:lstStyle/>
        <a:p>
          <a:endParaRPr lang="hr-HR" sz="1400"/>
        </a:p>
      </dgm:t>
    </dgm:pt>
    <dgm:pt modelId="{1A4D97A1-9DF2-49CA-82B8-963DF7DCE551}" type="sibTrans" cxnId="{9EA7FE40-14E3-40C0-9D43-27B4998E44C2}">
      <dgm:prSet/>
      <dgm:spPr/>
      <dgm:t>
        <a:bodyPr/>
        <a:lstStyle/>
        <a:p>
          <a:endParaRPr lang="hr-HR" sz="1400"/>
        </a:p>
      </dgm:t>
    </dgm:pt>
    <dgm:pt modelId="{783B1390-2DC1-48ED-B028-F7960033C6EE}">
      <dgm:prSet phldrT="[Text]" custT="1"/>
      <dgm:spPr/>
      <dgm:t>
        <a:bodyPr anchor="ctr"/>
        <a:lstStyle/>
        <a:p>
          <a:r>
            <a:rPr lang="hr-HR" sz="1400" b="1" dirty="0"/>
            <a:t>UKUPNA GARANCIJSKA AKTIVNOST</a:t>
          </a:r>
        </a:p>
      </dgm:t>
    </dgm:pt>
    <dgm:pt modelId="{B9E1B787-2805-42C2-B13E-7CA7498C0107}" type="parTrans" cxnId="{2B8A988E-D3F1-472A-8250-4CECC50BAD78}">
      <dgm:prSet/>
      <dgm:spPr/>
      <dgm:t>
        <a:bodyPr/>
        <a:lstStyle/>
        <a:p>
          <a:endParaRPr lang="hr-HR" sz="1400"/>
        </a:p>
      </dgm:t>
    </dgm:pt>
    <dgm:pt modelId="{61F53FE1-5DBD-44E7-87A9-E658C6616F6B}" type="sibTrans" cxnId="{2B8A988E-D3F1-472A-8250-4CECC50BAD78}">
      <dgm:prSet/>
      <dgm:spPr/>
      <dgm:t>
        <a:bodyPr/>
        <a:lstStyle/>
        <a:p>
          <a:endParaRPr lang="hr-HR" sz="1400"/>
        </a:p>
      </dgm:t>
    </dgm:pt>
    <dgm:pt modelId="{D3CC2A22-97E9-42E7-8BCD-F3A4C6EB5BFC}">
      <dgm:prSet phldrT="[Text]" custT="1"/>
      <dgm:spPr/>
      <dgm:t>
        <a:bodyPr anchor="ctr"/>
        <a:lstStyle/>
        <a:p>
          <a:r>
            <a:rPr lang="hr-HR" sz="1400" b="1" dirty="0"/>
            <a:t>UKUPNA POSLOVNA AKTIVNOST</a:t>
          </a:r>
        </a:p>
      </dgm:t>
    </dgm:pt>
    <dgm:pt modelId="{3987C3EA-A6A3-49C1-AB2A-C595880753C5}">
      <dgm:prSet phldrT="[Text]" cust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hr-HR" sz="2000" b="1" dirty="0"/>
            <a:t> 155,8 MLRD. KUNA </a:t>
          </a:r>
        </a:p>
      </dgm:t>
    </dgm:pt>
    <dgm:pt modelId="{4569DF19-9B46-4686-97CC-1AC0EEADBE23}" type="sibTrans" cxnId="{C90DE6F4-B6D3-4DF7-9F82-20C255B81DE4}">
      <dgm:prSet/>
      <dgm:spPr/>
      <dgm:t>
        <a:bodyPr/>
        <a:lstStyle/>
        <a:p>
          <a:endParaRPr lang="hr-HR" sz="1400"/>
        </a:p>
      </dgm:t>
    </dgm:pt>
    <dgm:pt modelId="{188DAD5E-C50B-4357-B1E5-D8DA8BD1E59E}" type="parTrans" cxnId="{C90DE6F4-B6D3-4DF7-9F82-20C255B81DE4}">
      <dgm:prSet/>
      <dgm:spPr/>
      <dgm:t>
        <a:bodyPr/>
        <a:lstStyle/>
        <a:p>
          <a:endParaRPr lang="hr-HR" sz="1400"/>
        </a:p>
      </dgm:t>
    </dgm:pt>
    <dgm:pt modelId="{FB2EAFEB-F03D-41F4-8178-7B3A5D855AE8}" type="sibTrans" cxnId="{7B575C4A-2DEA-4AC0-92C6-A05AC4F558A1}">
      <dgm:prSet/>
      <dgm:spPr/>
      <dgm:t>
        <a:bodyPr/>
        <a:lstStyle/>
        <a:p>
          <a:endParaRPr lang="hr-HR" sz="1400"/>
        </a:p>
      </dgm:t>
    </dgm:pt>
    <dgm:pt modelId="{6583CE30-4375-4E1E-8D75-41D012F6BB94}" type="parTrans" cxnId="{7B575C4A-2DEA-4AC0-92C6-A05AC4F558A1}">
      <dgm:prSet/>
      <dgm:spPr/>
      <dgm:t>
        <a:bodyPr/>
        <a:lstStyle/>
        <a:p>
          <a:endParaRPr lang="hr-HR" sz="1400"/>
        </a:p>
      </dgm:t>
    </dgm:pt>
    <dgm:pt modelId="{D0A3F252-139C-49A8-85EC-43035A8D3B1A}">
      <dgm:prSet phldrT="[Text]" custT="1"/>
      <dgm:spPr/>
      <dgm:t>
        <a:bodyPr anchor="ctr"/>
        <a:lstStyle/>
        <a:p>
          <a:r>
            <a:rPr lang="hr-HR" sz="1400" dirty="0"/>
            <a:t> </a:t>
          </a:r>
          <a:r>
            <a:rPr lang="hr-HR" sz="1400" b="1" dirty="0"/>
            <a:t>VIŠE OD 38 TISUĆA </a:t>
          </a:r>
          <a:r>
            <a:rPr lang="hr-HR" sz="1400" b="0" dirty="0"/>
            <a:t>PODRŽANIH </a:t>
          </a:r>
          <a:r>
            <a:rPr lang="hr-HR" sz="1400" dirty="0"/>
            <a:t>PROJEKATA</a:t>
          </a:r>
        </a:p>
      </dgm:t>
    </dgm:pt>
    <dgm:pt modelId="{2FF235C6-163F-4C58-A95E-EC503A53165F}" type="parTrans" cxnId="{81949B8F-FA15-4F01-8452-8C0CC9187713}">
      <dgm:prSet/>
      <dgm:spPr/>
      <dgm:t>
        <a:bodyPr/>
        <a:lstStyle/>
        <a:p>
          <a:endParaRPr lang="hr-HR" sz="1400"/>
        </a:p>
      </dgm:t>
    </dgm:pt>
    <dgm:pt modelId="{64F3F27F-EFFC-4469-8572-79D24C94C257}" type="sibTrans" cxnId="{81949B8F-FA15-4F01-8452-8C0CC9187713}">
      <dgm:prSet/>
      <dgm:spPr/>
      <dgm:t>
        <a:bodyPr/>
        <a:lstStyle/>
        <a:p>
          <a:endParaRPr lang="hr-HR" sz="1400"/>
        </a:p>
      </dgm:t>
    </dgm:pt>
    <dgm:pt modelId="{75601EA1-EF44-44AA-A5C1-9CCCF6F261FA}">
      <dgm:prSet phldrT="[Text]" custT="1"/>
      <dgm:spPr/>
      <dgm:t>
        <a:bodyPr anchor="ctr"/>
        <a:lstStyle/>
        <a:p>
          <a:r>
            <a:rPr lang="hr-HR" sz="1400" dirty="0"/>
            <a:t> </a:t>
          </a:r>
          <a:r>
            <a:rPr lang="hr-HR" sz="1400" b="1" dirty="0"/>
            <a:t>VIŠE OD 700 </a:t>
          </a:r>
          <a:r>
            <a:rPr lang="hr-HR" sz="1400" b="0" dirty="0"/>
            <a:t>ODOBRENIH GARANCIJA</a:t>
          </a:r>
          <a:endParaRPr lang="hr-HR" sz="1400" dirty="0"/>
        </a:p>
      </dgm:t>
    </dgm:pt>
    <dgm:pt modelId="{D3ABE24A-5D14-40B0-A826-60B71F92303B}" type="parTrans" cxnId="{5B7EFB1E-1C4B-4918-9C36-502CCABB0EF8}">
      <dgm:prSet/>
      <dgm:spPr/>
      <dgm:t>
        <a:bodyPr/>
        <a:lstStyle/>
        <a:p>
          <a:endParaRPr lang="hr-HR" sz="1400"/>
        </a:p>
      </dgm:t>
    </dgm:pt>
    <dgm:pt modelId="{E4453C7B-305F-4DC9-9E1A-953F0F45E60E}" type="sibTrans" cxnId="{5B7EFB1E-1C4B-4918-9C36-502CCABB0EF8}">
      <dgm:prSet/>
      <dgm:spPr/>
      <dgm:t>
        <a:bodyPr/>
        <a:lstStyle/>
        <a:p>
          <a:endParaRPr lang="hr-HR" sz="1400"/>
        </a:p>
      </dgm:t>
    </dgm:pt>
    <dgm:pt modelId="{EF540BFD-239C-40AA-BC63-E20F583A716E}">
      <dgm:prSet phldrT="[Text]" custT="1"/>
      <dgm:spPr/>
      <dgm:t>
        <a:bodyPr anchor="ctr"/>
        <a:lstStyle/>
        <a:p>
          <a:r>
            <a:rPr lang="hr-HR" sz="1400" b="1" dirty="0"/>
            <a:t>VIŠE OD 56 TISUĆA </a:t>
          </a:r>
          <a:r>
            <a:rPr lang="hr-HR" sz="1400" b="0" dirty="0"/>
            <a:t>PODRŽANIH</a:t>
          </a:r>
          <a:r>
            <a:rPr lang="hr-HR" sz="1400" b="1" dirty="0"/>
            <a:t> </a:t>
          </a:r>
          <a:r>
            <a:rPr lang="hr-HR" sz="1400" dirty="0"/>
            <a:t>PROJEKATA</a:t>
          </a:r>
        </a:p>
      </dgm:t>
    </dgm:pt>
    <dgm:pt modelId="{2A54A879-E3CC-467A-9DCE-2BFA306AF082}" type="sibTrans" cxnId="{AE77D64C-DA1E-4C9F-B411-692A64E971E0}">
      <dgm:prSet/>
      <dgm:spPr/>
      <dgm:t>
        <a:bodyPr/>
        <a:lstStyle/>
        <a:p>
          <a:endParaRPr lang="hr-HR" sz="1400"/>
        </a:p>
      </dgm:t>
    </dgm:pt>
    <dgm:pt modelId="{0C219EC1-4842-4C2F-BDFE-99D3F25A1E1F}" type="parTrans" cxnId="{AE77D64C-DA1E-4C9F-B411-692A64E971E0}">
      <dgm:prSet/>
      <dgm:spPr/>
      <dgm:t>
        <a:bodyPr/>
        <a:lstStyle/>
        <a:p>
          <a:endParaRPr lang="hr-HR" sz="1400"/>
        </a:p>
      </dgm:t>
    </dgm:pt>
    <dgm:pt modelId="{D4C0052F-E645-4BE1-9228-B03CA4D03FBF}">
      <dgm:prSet phldrT="[Text]" custT="1"/>
      <dgm:spPr/>
      <dgm:t>
        <a:bodyPr anchor="ctr"/>
        <a:lstStyle/>
        <a:p>
          <a:r>
            <a:rPr lang="hr-HR" sz="1400" b="1" dirty="0"/>
            <a:t>VIŠE OD 27 TISUĆA </a:t>
          </a:r>
          <a:r>
            <a:rPr lang="hr-HR" sz="1400" b="0" dirty="0"/>
            <a:t>PODRŽANIH</a:t>
          </a:r>
          <a:r>
            <a:rPr lang="hr-HR" sz="1400" b="1" dirty="0"/>
            <a:t> </a:t>
          </a:r>
          <a:r>
            <a:rPr lang="hr-HR" sz="1400" dirty="0"/>
            <a:t>IZVOZNIH POSLOVA</a:t>
          </a:r>
          <a:endParaRPr lang="hr-HR" sz="1400" b="1" dirty="0"/>
        </a:p>
      </dgm:t>
    </dgm:pt>
    <dgm:pt modelId="{D77990F7-2A41-4CF0-9977-D173E58B7C52}" type="parTrans" cxnId="{582F221F-5897-41D0-B870-7AC7BA25EC04}">
      <dgm:prSet/>
      <dgm:spPr/>
      <dgm:t>
        <a:bodyPr/>
        <a:lstStyle/>
        <a:p>
          <a:endParaRPr lang="hr-HR"/>
        </a:p>
      </dgm:t>
    </dgm:pt>
    <dgm:pt modelId="{2BC62AD9-173C-4AA7-9363-78EE3076E298}" type="sibTrans" cxnId="{582F221F-5897-41D0-B870-7AC7BA25EC04}">
      <dgm:prSet/>
      <dgm:spPr/>
      <dgm:t>
        <a:bodyPr/>
        <a:lstStyle/>
        <a:p>
          <a:endParaRPr lang="hr-HR"/>
        </a:p>
      </dgm:t>
    </dgm:pt>
    <dgm:pt modelId="{25B23022-2E3B-4F40-94E8-5987CB5E8ACA}" type="pres">
      <dgm:prSet presAssocID="{F6A1E43B-7874-4DB4-8B21-47FD816CFAE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hr-HR"/>
        </a:p>
      </dgm:t>
    </dgm:pt>
    <dgm:pt modelId="{6496C456-7BAF-4933-87F1-E760E1A15A4A}" type="pres">
      <dgm:prSet presAssocID="{3987C3EA-A6A3-49C1-AB2A-C595880753C5}" presName="linNode" presStyleCnt="0"/>
      <dgm:spPr/>
    </dgm:pt>
    <dgm:pt modelId="{AEF4A71B-D9EA-4370-B044-70A0FC0D6C1B}" type="pres">
      <dgm:prSet presAssocID="{3987C3EA-A6A3-49C1-AB2A-C595880753C5}" presName="parentText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D285392C-5C7A-4D2F-9EE5-7FE794F0F3AF}" type="pres">
      <dgm:prSet presAssocID="{3987C3EA-A6A3-49C1-AB2A-C595880753C5}" presName="descendantText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0085F0CF-3CFB-468A-ADD8-571624EA0935}" type="pres">
      <dgm:prSet presAssocID="{4569DF19-9B46-4686-97CC-1AC0EEADBE23}" presName="sp" presStyleCnt="0"/>
      <dgm:spPr/>
    </dgm:pt>
    <dgm:pt modelId="{A9B700CE-A7FF-4254-B13C-038515AC02BB}" type="pres">
      <dgm:prSet presAssocID="{D9677CDF-ED68-49AC-923A-F1FBEBE74441}" presName="linNode" presStyleCnt="0"/>
      <dgm:spPr/>
    </dgm:pt>
    <dgm:pt modelId="{78C9ACDD-D8DD-4C13-BA06-05B7419E3984}" type="pres">
      <dgm:prSet presAssocID="{D9677CDF-ED68-49AC-923A-F1FBEBE74441}" presName="parentText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599E2D16-7A14-4B34-98F7-432C5AC29FE0}" type="pres">
      <dgm:prSet presAssocID="{D9677CDF-ED68-49AC-923A-F1FBEBE74441}" presName="descendantText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7E57A613-5B04-4992-80EE-62DE469C74E8}" type="pres">
      <dgm:prSet presAssocID="{9684F814-6E68-477C-920D-0D5D8FFF67E2}" presName="sp" presStyleCnt="0"/>
      <dgm:spPr/>
    </dgm:pt>
    <dgm:pt modelId="{9004F2C6-F939-4484-9540-BC7677088267}" type="pres">
      <dgm:prSet presAssocID="{48ABCC36-E375-468A-B792-FB5D6778AC3E}" presName="linNode" presStyleCnt="0"/>
      <dgm:spPr/>
    </dgm:pt>
    <dgm:pt modelId="{D8A38C71-5A7C-46FD-B6BF-CA497BB8BAE3}" type="pres">
      <dgm:prSet presAssocID="{48ABCC36-E375-468A-B792-FB5D6778AC3E}" presName="parentText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BD815F37-7B0C-4319-A744-16292475EB93}" type="pres">
      <dgm:prSet presAssocID="{48ABCC36-E375-468A-B792-FB5D6778AC3E}" presName="descendantText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496393D9-2502-42CA-9BCE-0A00A8D930BB}" type="pres">
      <dgm:prSet presAssocID="{FFDF57FD-EACB-40E2-A467-192AE5EF66AC}" presName="sp" presStyleCnt="0"/>
      <dgm:spPr/>
    </dgm:pt>
    <dgm:pt modelId="{498F4D96-0DE8-44FC-8970-278D0013046C}" type="pres">
      <dgm:prSet presAssocID="{E8F21B1C-F7D7-4E75-A3E5-A406BFEF11C4}" presName="linNode" presStyleCnt="0"/>
      <dgm:spPr/>
    </dgm:pt>
    <dgm:pt modelId="{0B44F03C-042D-4305-BC39-4322CCC7ADAC}" type="pres">
      <dgm:prSet presAssocID="{E8F21B1C-F7D7-4E75-A3E5-A406BFEF11C4}" presName="parentText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3E7B46F2-1DE0-45DD-887C-B15B2C74FEE3}" type="pres">
      <dgm:prSet presAssocID="{E8F21B1C-F7D7-4E75-A3E5-A406BFEF11C4}" presName="descendantText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</dgm:ptLst>
  <dgm:cxnLst>
    <dgm:cxn modelId="{2B8A988E-D3F1-472A-8250-4CECC50BAD78}" srcId="{E8F21B1C-F7D7-4E75-A3E5-A406BFEF11C4}" destId="{783B1390-2DC1-48ED-B028-F7960033C6EE}" srcOrd="0" destOrd="0" parTransId="{B9E1B787-2805-42C2-B13E-7CA7498C0107}" sibTransId="{61F53FE1-5DBD-44E7-87A9-E658C6616F6B}"/>
    <dgm:cxn modelId="{2CE07DB9-EC51-4A22-9F88-80D86B920A84}" type="presOf" srcId="{F6A1E43B-7874-4DB4-8B21-47FD816CFAED}" destId="{25B23022-2E3B-4F40-94E8-5987CB5E8ACA}" srcOrd="0" destOrd="0" presId="urn:microsoft.com/office/officeart/2005/8/layout/vList5"/>
    <dgm:cxn modelId="{582F221F-5897-41D0-B870-7AC7BA25EC04}" srcId="{30700EC0-7A1F-4DE8-920A-FBB419DA8F04}" destId="{D4C0052F-E645-4BE1-9228-B03CA4D03FBF}" srcOrd="0" destOrd="0" parTransId="{D77990F7-2A41-4CF0-9977-D173E58B7C52}" sibTransId="{2BC62AD9-173C-4AA7-9363-78EE3076E298}"/>
    <dgm:cxn modelId="{3890A4FA-020E-4D95-BCC6-9B7F07A9B9E5}" srcId="{48ABCC36-E375-468A-B792-FB5D6778AC3E}" destId="{30700EC0-7A1F-4DE8-920A-FBB419DA8F04}" srcOrd="0" destOrd="0" parTransId="{F6B0A089-8B27-497F-84EE-50EDAF9449BB}" sibTransId="{BE506774-9D5D-40A9-9B73-6DE36E5C081E}"/>
    <dgm:cxn modelId="{2CBD74E3-7871-4112-811C-C0A3087CD7D1}" srcId="{F6A1E43B-7874-4DB4-8B21-47FD816CFAED}" destId="{48ABCC36-E375-468A-B792-FB5D6778AC3E}" srcOrd="2" destOrd="0" parTransId="{5B89609C-8D40-4B3B-ADD8-DC6AD1A5D928}" sibTransId="{FFDF57FD-EACB-40E2-A467-192AE5EF66AC}"/>
    <dgm:cxn modelId="{EF909E9F-A71F-4443-8141-DC650944BC46}" type="presOf" srcId="{6CFBD080-9470-4899-A33A-010612E3F8C6}" destId="{599E2D16-7A14-4B34-98F7-432C5AC29FE0}" srcOrd="0" destOrd="0" presId="urn:microsoft.com/office/officeart/2005/8/layout/vList5"/>
    <dgm:cxn modelId="{BCEE7DDA-E9FC-4ADC-B798-C9D53427067C}" type="presOf" srcId="{EF540BFD-239C-40AA-BC63-E20F583A716E}" destId="{D285392C-5C7A-4D2F-9EE5-7FE794F0F3AF}" srcOrd="0" destOrd="1" presId="urn:microsoft.com/office/officeart/2005/8/layout/vList5"/>
    <dgm:cxn modelId="{72A79A0E-5AE3-4CFF-8000-3D959D81828A}" srcId="{F6A1E43B-7874-4DB4-8B21-47FD816CFAED}" destId="{D9677CDF-ED68-49AC-923A-F1FBEBE74441}" srcOrd="1" destOrd="0" parTransId="{FF07F42F-45AC-476C-B238-8BFDD1503CB8}" sibTransId="{9684F814-6E68-477C-920D-0D5D8FFF67E2}"/>
    <dgm:cxn modelId="{AE77D64C-DA1E-4C9F-B411-692A64E971E0}" srcId="{D3CC2A22-97E9-42E7-8BCD-F3A4C6EB5BFC}" destId="{EF540BFD-239C-40AA-BC63-E20F583A716E}" srcOrd="0" destOrd="0" parTransId="{0C219EC1-4842-4C2F-BDFE-99D3F25A1E1F}" sibTransId="{2A54A879-E3CC-467A-9DCE-2BFA306AF082}"/>
    <dgm:cxn modelId="{972092BE-FBC2-4E54-8A98-99E7220FEF1C}" type="presOf" srcId="{75601EA1-EF44-44AA-A5C1-9CCCF6F261FA}" destId="{3E7B46F2-1DE0-45DD-887C-B15B2C74FEE3}" srcOrd="0" destOrd="1" presId="urn:microsoft.com/office/officeart/2005/8/layout/vList5"/>
    <dgm:cxn modelId="{19251574-C8BD-459D-923D-868E83488198}" type="presOf" srcId="{783B1390-2DC1-48ED-B028-F7960033C6EE}" destId="{3E7B46F2-1DE0-45DD-887C-B15B2C74FEE3}" srcOrd="0" destOrd="0" presId="urn:microsoft.com/office/officeart/2005/8/layout/vList5"/>
    <dgm:cxn modelId="{11022E4A-AB99-4157-AEF4-4C387120DB43}" type="presOf" srcId="{D0A3F252-139C-49A8-85EC-43035A8D3B1A}" destId="{599E2D16-7A14-4B34-98F7-432C5AC29FE0}" srcOrd="0" destOrd="1" presId="urn:microsoft.com/office/officeart/2005/8/layout/vList5"/>
    <dgm:cxn modelId="{5988FD0C-E5E9-401A-A4C6-B7886D23C654}" type="presOf" srcId="{E8F21B1C-F7D7-4E75-A3E5-A406BFEF11C4}" destId="{0B44F03C-042D-4305-BC39-4322CCC7ADAC}" srcOrd="0" destOrd="0" presId="urn:microsoft.com/office/officeart/2005/8/layout/vList5"/>
    <dgm:cxn modelId="{EC3C6D82-2717-40A2-B660-0B88835524EB}" type="presOf" srcId="{D9677CDF-ED68-49AC-923A-F1FBEBE74441}" destId="{78C9ACDD-D8DD-4C13-BA06-05B7419E3984}" srcOrd="0" destOrd="0" presId="urn:microsoft.com/office/officeart/2005/8/layout/vList5"/>
    <dgm:cxn modelId="{7B575C4A-2DEA-4AC0-92C6-A05AC4F558A1}" srcId="{3987C3EA-A6A3-49C1-AB2A-C595880753C5}" destId="{D3CC2A22-97E9-42E7-8BCD-F3A4C6EB5BFC}" srcOrd="0" destOrd="0" parTransId="{6583CE30-4375-4E1E-8D75-41D012F6BB94}" sibTransId="{FB2EAFEB-F03D-41F4-8178-7B3A5D855AE8}"/>
    <dgm:cxn modelId="{22E1F79A-003C-48B2-8B75-E3698CD109AB}" type="presOf" srcId="{30700EC0-7A1F-4DE8-920A-FBB419DA8F04}" destId="{BD815F37-7B0C-4319-A744-16292475EB93}" srcOrd="0" destOrd="0" presId="urn:microsoft.com/office/officeart/2005/8/layout/vList5"/>
    <dgm:cxn modelId="{C85133CD-C41B-4712-A628-58F3CDFEB9B5}" type="presOf" srcId="{48ABCC36-E375-468A-B792-FB5D6778AC3E}" destId="{D8A38C71-5A7C-46FD-B6BF-CA497BB8BAE3}" srcOrd="0" destOrd="0" presId="urn:microsoft.com/office/officeart/2005/8/layout/vList5"/>
    <dgm:cxn modelId="{BE98E03D-C90A-48D8-B700-01DA63DB3EDE}" type="presOf" srcId="{D4C0052F-E645-4BE1-9228-B03CA4D03FBF}" destId="{BD815F37-7B0C-4319-A744-16292475EB93}" srcOrd="0" destOrd="1" presId="urn:microsoft.com/office/officeart/2005/8/layout/vList5"/>
    <dgm:cxn modelId="{C90DE6F4-B6D3-4DF7-9F82-20C255B81DE4}" srcId="{F6A1E43B-7874-4DB4-8B21-47FD816CFAED}" destId="{3987C3EA-A6A3-49C1-AB2A-C595880753C5}" srcOrd="0" destOrd="0" parTransId="{188DAD5E-C50B-4357-B1E5-D8DA8BD1E59E}" sibTransId="{4569DF19-9B46-4686-97CC-1AC0EEADBE23}"/>
    <dgm:cxn modelId="{9EA7FE40-14E3-40C0-9D43-27B4998E44C2}" srcId="{F6A1E43B-7874-4DB4-8B21-47FD816CFAED}" destId="{E8F21B1C-F7D7-4E75-A3E5-A406BFEF11C4}" srcOrd="3" destOrd="0" parTransId="{0E2C5943-2C22-4E53-BD8B-3ACA3CDB6B29}" sibTransId="{1A4D97A1-9DF2-49CA-82B8-963DF7DCE551}"/>
    <dgm:cxn modelId="{5B7EFB1E-1C4B-4918-9C36-502CCABB0EF8}" srcId="{783B1390-2DC1-48ED-B028-F7960033C6EE}" destId="{75601EA1-EF44-44AA-A5C1-9CCCF6F261FA}" srcOrd="0" destOrd="0" parTransId="{D3ABE24A-5D14-40B0-A826-60B71F92303B}" sibTransId="{E4453C7B-305F-4DC9-9E1A-953F0F45E60E}"/>
    <dgm:cxn modelId="{11362E2F-F5F0-469D-B95B-2C121403F3DD}" type="presOf" srcId="{D3CC2A22-97E9-42E7-8BCD-F3A4C6EB5BFC}" destId="{D285392C-5C7A-4D2F-9EE5-7FE794F0F3AF}" srcOrd="0" destOrd="0" presId="urn:microsoft.com/office/officeart/2005/8/layout/vList5"/>
    <dgm:cxn modelId="{5764B532-D78A-4011-9553-24C20BFCAD27}" type="presOf" srcId="{3987C3EA-A6A3-49C1-AB2A-C595880753C5}" destId="{AEF4A71B-D9EA-4370-B044-70A0FC0D6C1B}" srcOrd="0" destOrd="0" presId="urn:microsoft.com/office/officeart/2005/8/layout/vList5"/>
    <dgm:cxn modelId="{81949B8F-FA15-4F01-8452-8C0CC9187713}" srcId="{6CFBD080-9470-4899-A33A-010612E3F8C6}" destId="{D0A3F252-139C-49A8-85EC-43035A8D3B1A}" srcOrd="0" destOrd="0" parTransId="{2FF235C6-163F-4C58-A95E-EC503A53165F}" sibTransId="{64F3F27F-EFFC-4469-8572-79D24C94C257}"/>
    <dgm:cxn modelId="{59E95C05-B544-49A8-95E7-7B685B4C8C59}" srcId="{D9677CDF-ED68-49AC-923A-F1FBEBE74441}" destId="{6CFBD080-9470-4899-A33A-010612E3F8C6}" srcOrd="0" destOrd="0" parTransId="{63D27199-D4B0-48E5-B2E8-71E61B220AAB}" sibTransId="{B91AB1E2-12D5-4220-AD99-6B644D8B6086}"/>
    <dgm:cxn modelId="{D74A3C46-A29A-48CD-AAD3-6A097B3CF129}" type="presParOf" srcId="{25B23022-2E3B-4F40-94E8-5987CB5E8ACA}" destId="{6496C456-7BAF-4933-87F1-E760E1A15A4A}" srcOrd="0" destOrd="0" presId="urn:microsoft.com/office/officeart/2005/8/layout/vList5"/>
    <dgm:cxn modelId="{0A7CCD26-55D6-4A46-B7FF-807E63BCC769}" type="presParOf" srcId="{6496C456-7BAF-4933-87F1-E760E1A15A4A}" destId="{AEF4A71B-D9EA-4370-B044-70A0FC0D6C1B}" srcOrd="0" destOrd="0" presId="urn:microsoft.com/office/officeart/2005/8/layout/vList5"/>
    <dgm:cxn modelId="{A9D6A741-165B-4C8E-8185-1E1BB998A0B7}" type="presParOf" srcId="{6496C456-7BAF-4933-87F1-E760E1A15A4A}" destId="{D285392C-5C7A-4D2F-9EE5-7FE794F0F3AF}" srcOrd="1" destOrd="0" presId="urn:microsoft.com/office/officeart/2005/8/layout/vList5"/>
    <dgm:cxn modelId="{02CF6497-814E-4473-B1D0-BC72F7270437}" type="presParOf" srcId="{25B23022-2E3B-4F40-94E8-5987CB5E8ACA}" destId="{0085F0CF-3CFB-468A-ADD8-571624EA0935}" srcOrd="1" destOrd="0" presId="urn:microsoft.com/office/officeart/2005/8/layout/vList5"/>
    <dgm:cxn modelId="{16300C75-8493-4FAD-AD06-4C3823F2142B}" type="presParOf" srcId="{25B23022-2E3B-4F40-94E8-5987CB5E8ACA}" destId="{A9B700CE-A7FF-4254-B13C-038515AC02BB}" srcOrd="2" destOrd="0" presId="urn:microsoft.com/office/officeart/2005/8/layout/vList5"/>
    <dgm:cxn modelId="{07D88612-FD90-4404-98AC-6AF54A7CC2E4}" type="presParOf" srcId="{A9B700CE-A7FF-4254-B13C-038515AC02BB}" destId="{78C9ACDD-D8DD-4C13-BA06-05B7419E3984}" srcOrd="0" destOrd="0" presId="urn:microsoft.com/office/officeart/2005/8/layout/vList5"/>
    <dgm:cxn modelId="{5F326299-ED96-4A85-BCD0-32EDF6E0DDE9}" type="presParOf" srcId="{A9B700CE-A7FF-4254-B13C-038515AC02BB}" destId="{599E2D16-7A14-4B34-98F7-432C5AC29FE0}" srcOrd="1" destOrd="0" presId="urn:microsoft.com/office/officeart/2005/8/layout/vList5"/>
    <dgm:cxn modelId="{93B92BBF-CE90-4000-B105-093D68491079}" type="presParOf" srcId="{25B23022-2E3B-4F40-94E8-5987CB5E8ACA}" destId="{7E57A613-5B04-4992-80EE-62DE469C74E8}" srcOrd="3" destOrd="0" presId="urn:microsoft.com/office/officeart/2005/8/layout/vList5"/>
    <dgm:cxn modelId="{55B896F8-5B65-4AE9-8A0F-AE91D107A89D}" type="presParOf" srcId="{25B23022-2E3B-4F40-94E8-5987CB5E8ACA}" destId="{9004F2C6-F939-4484-9540-BC7677088267}" srcOrd="4" destOrd="0" presId="urn:microsoft.com/office/officeart/2005/8/layout/vList5"/>
    <dgm:cxn modelId="{790DB96D-96CA-4160-A4B3-B3F45D9767AA}" type="presParOf" srcId="{9004F2C6-F939-4484-9540-BC7677088267}" destId="{D8A38C71-5A7C-46FD-B6BF-CA497BB8BAE3}" srcOrd="0" destOrd="0" presId="urn:microsoft.com/office/officeart/2005/8/layout/vList5"/>
    <dgm:cxn modelId="{4F49DA53-128D-4EFC-96EE-B01F106B4A5D}" type="presParOf" srcId="{9004F2C6-F939-4484-9540-BC7677088267}" destId="{BD815F37-7B0C-4319-A744-16292475EB93}" srcOrd="1" destOrd="0" presId="urn:microsoft.com/office/officeart/2005/8/layout/vList5"/>
    <dgm:cxn modelId="{06AC57D2-4F26-44F3-8AC8-55FA1D489976}" type="presParOf" srcId="{25B23022-2E3B-4F40-94E8-5987CB5E8ACA}" destId="{496393D9-2502-42CA-9BCE-0A00A8D930BB}" srcOrd="5" destOrd="0" presId="urn:microsoft.com/office/officeart/2005/8/layout/vList5"/>
    <dgm:cxn modelId="{956441AC-D8BD-4ECC-B5C2-9BA46AC2A2AE}" type="presParOf" srcId="{25B23022-2E3B-4F40-94E8-5987CB5E8ACA}" destId="{498F4D96-0DE8-44FC-8970-278D0013046C}" srcOrd="6" destOrd="0" presId="urn:microsoft.com/office/officeart/2005/8/layout/vList5"/>
    <dgm:cxn modelId="{C30672D0-7897-4DE4-A40D-27FB0EA45FD7}" type="presParOf" srcId="{498F4D96-0DE8-44FC-8970-278D0013046C}" destId="{0B44F03C-042D-4305-BC39-4322CCC7ADAC}" srcOrd="0" destOrd="0" presId="urn:microsoft.com/office/officeart/2005/8/layout/vList5"/>
    <dgm:cxn modelId="{E7974E0E-5BE9-4F1B-B72C-482A5DC5EF38}" type="presParOf" srcId="{498F4D96-0DE8-44FC-8970-278D0013046C}" destId="{3E7B46F2-1DE0-45DD-887C-B15B2C74FEE3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1A83FDB-EE88-4A81-B660-A7DB650DC6A7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FDAF8F29-CA95-4BE9-8796-92353BAF38FA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pPr rtl="0"/>
          <a:r>
            <a:rPr lang="hr-HR" smtClean="0"/>
            <a:t>Izravno kreditiranje</a:t>
          </a:r>
          <a:endParaRPr lang="hr-HR"/>
        </a:p>
      </dgm:t>
    </dgm:pt>
    <dgm:pt modelId="{37E9854F-8B30-4D65-B0E5-0FF41933AC7F}" type="parTrans" cxnId="{A85970A0-5752-4D01-8D50-B61A419930C8}">
      <dgm:prSet/>
      <dgm:spPr/>
      <dgm:t>
        <a:bodyPr/>
        <a:lstStyle/>
        <a:p>
          <a:endParaRPr lang="hr-HR"/>
        </a:p>
      </dgm:t>
    </dgm:pt>
    <dgm:pt modelId="{D4E01DE2-0C2A-4E52-A90B-7E5F5426F39B}" type="sibTrans" cxnId="{A85970A0-5752-4D01-8D50-B61A419930C8}">
      <dgm:prSet/>
      <dgm:spPr/>
      <dgm:t>
        <a:bodyPr/>
        <a:lstStyle/>
        <a:p>
          <a:endParaRPr lang="hr-HR"/>
        </a:p>
      </dgm:t>
    </dgm:pt>
    <dgm:pt modelId="{CF7D412D-D0D1-4AF4-9E04-8C5C5BA0080F}">
      <dgm:prSet/>
      <dgm:spPr/>
      <dgm:t>
        <a:bodyPr/>
        <a:lstStyle/>
        <a:p>
          <a:pPr rtl="0"/>
          <a:r>
            <a:rPr lang="hr-HR" smtClean="0"/>
            <a:t>Kreditiranje uz podjelu rizika s poslovnim bankama</a:t>
          </a:r>
          <a:endParaRPr lang="hr-HR"/>
        </a:p>
      </dgm:t>
    </dgm:pt>
    <dgm:pt modelId="{51A15A14-D51C-4D22-9468-04F67E0FE621}" type="parTrans" cxnId="{484A7FEE-9D9B-4F53-8590-720031DE3F36}">
      <dgm:prSet/>
      <dgm:spPr/>
      <dgm:t>
        <a:bodyPr/>
        <a:lstStyle/>
        <a:p>
          <a:endParaRPr lang="hr-HR"/>
        </a:p>
      </dgm:t>
    </dgm:pt>
    <dgm:pt modelId="{F577BBDD-1E3B-47D4-9893-53F42F4D33BA}" type="sibTrans" cxnId="{484A7FEE-9D9B-4F53-8590-720031DE3F36}">
      <dgm:prSet/>
      <dgm:spPr/>
      <dgm:t>
        <a:bodyPr/>
        <a:lstStyle/>
        <a:p>
          <a:endParaRPr lang="hr-HR"/>
        </a:p>
      </dgm:t>
    </dgm:pt>
    <dgm:pt modelId="{C0DA1951-DFAE-4838-966D-C1306B525B64}">
      <dgm:prSet/>
      <dgm:spPr/>
      <dgm:t>
        <a:bodyPr/>
        <a:lstStyle/>
        <a:p>
          <a:pPr rtl="0"/>
          <a:r>
            <a:rPr lang="hr-HR" smtClean="0"/>
            <a:t>Kreditiranje putem poslovnih banaka</a:t>
          </a:r>
          <a:endParaRPr lang="hr-HR"/>
        </a:p>
      </dgm:t>
    </dgm:pt>
    <dgm:pt modelId="{47C84DB2-E964-4075-AC21-0468D1F6D3D2}" type="parTrans" cxnId="{2721B736-0BBA-4FBA-B96E-D2C1465EAE79}">
      <dgm:prSet/>
      <dgm:spPr/>
      <dgm:t>
        <a:bodyPr/>
        <a:lstStyle/>
        <a:p>
          <a:endParaRPr lang="hr-HR"/>
        </a:p>
      </dgm:t>
    </dgm:pt>
    <dgm:pt modelId="{60FB3357-91D2-4F73-BA38-66FDC68A7B58}" type="sibTrans" cxnId="{2721B736-0BBA-4FBA-B96E-D2C1465EAE79}">
      <dgm:prSet/>
      <dgm:spPr/>
      <dgm:t>
        <a:bodyPr/>
        <a:lstStyle/>
        <a:p>
          <a:endParaRPr lang="hr-HR"/>
        </a:p>
      </dgm:t>
    </dgm:pt>
    <dgm:pt modelId="{0A8529B8-95B1-425F-B51B-686019CABF82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pPr rtl="0"/>
          <a:r>
            <a:rPr lang="hr-HR" smtClean="0"/>
            <a:t>Financiranje u suradnji s leasing društvima</a:t>
          </a:r>
          <a:endParaRPr lang="hr-HR"/>
        </a:p>
      </dgm:t>
    </dgm:pt>
    <dgm:pt modelId="{8185553B-938D-46D7-BCEE-AB503B833045}" type="parTrans" cxnId="{DC4ACB85-796F-43FF-8E57-1DB901F50959}">
      <dgm:prSet/>
      <dgm:spPr/>
      <dgm:t>
        <a:bodyPr/>
        <a:lstStyle/>
        <a:p>
          <a:endParaRPr lang="hr-HR"/>
        </a:p>
      </dgm:t>
    </dgm:pt>
    <dgm:pt modelId="{3A7F5837-FEE8-40BC-890F-4FE0EBD1E04C}" type="sibTrans" cxnId="{DC4ACB85-796F-43FF-8E57-1DB901F50959}">
      <dgm:prSet/>
      <dgm:spPr/>
      <dgm:t>
        <a:bodyPr/>
        <a:lstStyle/>
        <a:p>
          <a:endParaRPr lang="hr-HR"/>
        </a:p>
      </dgm:t>
    </dgm:pt>
    <dgm:pt modelId="{D8CACB50-5E69-4DC3-8A2E-AE9D65449038}" type="pres">
      <dgm:prSet presAssocID="{01A83FDB-EE88-4A81-B660-A7DB650DC6A7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hr-HR"/>
        </a:p>
      </dgm:t>
    </dgm:pt>
    <dgm:pt modelId="{583FFCAE-84DC-48EE-B766-C2F879C7732B}" type="pres">
      <dgm:prSet presAssocID="{01A83FDB-EE88-4A81-B660-A7DB650DC6A7}" presName="diamond" presStyleLbl="bgShp" presStyleIdx="0" presStyleCnt="1"/>
      <dgm:spPr/>
    </dgm:pt>
    <dgm:pt modelId="{E20FCA23-22A4-4B57-8D7C-8C592BD4DE05}" type="pres">
      <dgm:prSet presAssocID="{01A83FDB-EE88-4A81-B660-A7DB650DC6A7}" presName="quad1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81743D00-37E1-46E4-8555-B109507EF405}" type="pres">
      <dgm:prSet presAssocID="{01A83FDB-EE88-4A81-B660-A7DB650DC6A7}" presName="quad2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683017F7-6BE2-48F7-9C59-47D205CD52D9}" type="pres">
      <dgm:prSet presAssocID="{01A83FDB-EE88-4A81-B660-A7DB650DC6A7}" presName="quad3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0F2851E7-6FD9-413B-8B50-451CFB97F58C}" type="pres">
      <dgm:prSet presAssocID="{01A83FDB-EE88-4A81-B660-A7DB650DC6A7}" presName="quad4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r-HR"/>
        </a:p>
      </dgm:t>
    </dgm:pt>
  </dgm:ptLst>
  <dgm:cxnLst>
    <dgm:cxn modelId="{DC4ACB85-796F-43FF-8E57-1DB901F50959}" srcId="{01A83FDB-EE88-4A81-B660-A7DB650DC6A7}" destId="{0A8529B8-95B1-425F-B51B-686019CABF82}" srcOrd="3" destOrd="0" parTransId="{8185553B-938D-46D7-BCEE-AB503B833045}" sibTransId="{3A7F5837-FEE8-40BC-890F-4FE0EBD1E04C}"/>
    <dgm:cxn modelId="{E427C064-13B7-43B7-A340-2C1CC57B6EF7}" type="presOf" srcId="{C0DA1951-DFAE-4838-966D-C1306B525B64}" destId="{683017F7-6BE2-48F7-9C59-47D205CD52D9}" srcOrd="0" destOrd="0" presId="urn:microsoft.com/office/officeart/2005/8/layout/matrix3"/>
    <dgm:cxn modelId="{E0F20D9C-626D-40C8-91C3-79DA1E94C75F}" type="presOf" srcId="{0A8529B8-95B1-425F-B51B-686019CABF82}" destId="{0F2851E7-6FD9-413B-8B50-451CFB97F58C}" srcOrd="0" destOrd="0" presId="urn:microsoft.com/office/officeart/2005/8/layout/matrix3"/>
    <dgm:cxn modelId="{44318E12-2041-4F41-8E80-F84D7E86C11A}" type="presOf" srcId="{FDAF8F29-CA95-4BE9-8796-92353BAF38FA}" destId="{E20FCA23-22A4-4B57-8D7C-8C592BD4DE05}" srcOrd="0" destOrd="0" presId="urn:microsoft.com/office/officeart/2005/8/layout/matrix3"/>
    <dgm:cxn modelId="{E49C12C5-2B02-4FA1-9680-3FF028D11A1F}" type="presOf" srcId="{CF7D412D-D0D1-4AF4-9E04-8C5C5BA0080F}" destId="{81743D00-37E1-46E4-8555-B109507EF405}" srcOrd="0" destOrd="0" presId="urn:microsoft.com/office/officeart/2005/8/layout/matrix3"/>
    <dgm:cxn modelId="{6E633D1B-D81C-40BF-B177-6CD7680809C8}" type="presOf" srcId="{01A83FDB-EE88-4A81-B660-A7DB650DC6A7}" destId="{D8CACB50-5E69-4DC3-8A2E-AE9D65449038}" srcOrd="0" destOrd="0" presId="urn:microsoft.com/office/officeart/2005/8/layout/matrix3"/>
    <dgm:cxn modelId="{2721B736-0BBA-4FBA-B96E-D2C1465EAE79}" srcId="{01A83FDB-EE88-4A81-B660-A7DB650DC6A7}" destId="{C0DA1951-DFAE-4838-966D-C1306B525B64}" srcOrd="2" destOrd="0" parTransId="{47C84DB2-E964-4075-AC21-0468D1F6D3D2}" sibTransId="{60FB3357-91D2-4F73-BA38-66FDC68A7B58}"/>
    <dgm:cxn modelId="{484A7FEE-9D9B-4F53-8590-720031DE3F36}" srcId="{01A83FDB-EE88-4A81-B660-A7DB650DC6A7}" destId="{CF7D412D-D0D1-4AF4-9E04-8C5C5BA0080F}" srcOrd="1" destOrd="0" parTransId="{51A15A14-D51C-4D22-9468-04F67E0FE621}" sibTransId="{F577BBDD-1E3B-47D4-9893-53F42F4D33BA}"/>
    <dgm:cxn modelId="{A85970A0-5752-4D01-8D50-B61A419930C8}" srcId="{01A83FDB-EE88-4A81-B660-A7DB650DC6A7}" destId="{FDAF8F29-CA95-4BE9-8796-92353BAF38FA}" srcOrd="0" destOrd="0" parTransId="{37E9854F-8B30-4D65-B0E5-0FF41933AC7F}" sibTransId="{D4E01DE2-0C2A-4E52-A90B-7E5F5426F39B}"/>
    <dgm:cxn modelId="{827FC9FB-FA38-4593-9500-934158993C21}" type="presParOf" srcId="{D8CACB50-5E69-4DC3-8A2E-AE9D65449038}" destId="{583FFCAE-84DC-48EE-B766-C2F879C7732B}" srcOrd="0" destOrd="0" presId="urn:microsoft.com/office/officeart/2005/8/layout/matrix3"/>
    <dgm:cxn modelId="{5093CAF4-4B05-466C-BD66-45389EB3FC90}" type="presParOf" srcId="{D8CACB50-5E69-4DC3-8A2E-AE9D65449038}" destId="{E20FCA23-22A4-4B57-8D7C-8C592BD4DE05}" srcOrd="1" destOrd="0" presId="urn:microsoft.com/office/officeart/2005/8/layout/matrix3"/>
    <dgm:cxn modelId="{A150C874-CDB9-4389-ABD9-41B33DD36E66}" type="presParOf" srcId="{D8CACB50-5E69-4DC3-8A2E-AE9D65449038}" destId="{81743D00-37E1-46E4-8555-B109507EF405}" srcOrd="2" destOrd="0" presId="urn:microsoft.com/office/officeart/2005/8/layout/matrix3"/>
    <dgm:cxn modelId="{1947CACD-67CE-4BBF-AC05-5F13127AD76E}" type="presParOf" srcId="{D8CACB50-5E69-4DC3-8A2E-AE9D65449038}" destId="{683017F7-6BE2-48F7-9C59-47D205CD52D9}" srcOrd="3" destOrd="0" presId="urn:microsoft.com/office/officeart/2005/8/layout/matrix3"/>
    <dgm:cxn modelId="{9DCEE1FD-E41D-4A26-BE11-3C1AE0226EA7}" type="presParOf" srcId="{D8CACB50-5E69-4DC3-8A2E-AE9D65449038}" destId="{0F2851E7-6FD9-413B-8B50-451CFB97F58C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ADF6D00-DA45-4046-B072-BA90EB0B1D01}" type="doc">
      <dgm:prSet loTypeId="urn:microsoft.com/office/officeart/2009/layout/CircleArrow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CA8ADB73-44F2-4CB1-9C31-A24DEB1205C9}">
      <dgm:prSet phldrT="[Text]" custT="1"/>
      <dgm:spPr/>
      <dgm:t>
        <a:bodyPr/>
        <a:lstStyle/>
        <a:p>
          <a:r>
            <a:rPr lang="hr-HR" sz="1400" dirty="0" smtClean="0"/>
            <a:t>Gospodarstvo</a:t>
          </a:r>
          <a:endParaRPr lang="hr-HR" sz="1400" dirty="0"/>
        </a:p>
      </dgm:t>
    </dgm:pt>
    <dgm:pt modelId="{233D075A-019B-43E6-BCBB-846F104D168A}" type="parTrans" cxnId="{75DC6A75-8BD4-415E-8916-48C47884829C}">
      <dgm:prSet/>
      <dgm:spPr/>
      <dgm:t>
        <a:bodyPr/>
        <a:lstStyle/>
        <a:p>
          <a:endParaRPr lang="hr-HR" sz="1400"/>
        </a:p>
      </dgm:t>
    </dgm:pt>
    <dgm:pt modelId="{4CAEFBDD-9CA7-4A81-8198-C928C5F75CAF}" type="sibTrans" cxnId="{75DC6A75-8BD4-415E-8916-48C47884829C}">
      <dgm:prSet/>
      <dgm:spPr/>
      <dgm:t>
        <a:bodyPr/>
        <a:lstStyle/>
        <a:p>
          <a:endParaRPr lang="hr-HR" sz="1400"/>
        </a:p>
      </dgm:t>
    </dgm:pt>
    <dgm:pt modelId="{2EE2C3D5-BA29-447A-8DC4-224346297A76}">
      <dgm:prSet phldrT="[Text]" custT="1"/>
      <dgm:spPr/>
      <dgm:t>
        <a:bodyPr/>
        <a:lstStyle/>
        <a:p>
          <a:r>
            <a:rPr lang="hr-HR" sz="1400" dirty="0" smtClean="0"/>
            <a:t>Izvoz i turizam</a:t>
          </a:r>
          <a:endParaRPr lang="hr-HR" sz="1400" dirty="0"/>
        </a:p>
      </dgm:t>
    </dgm:pt>
    <dgm:pt modelId="{B5D2A061-7419-4DCB-8E1D-7D852F7AEE8C}" type="parTrans" cxnId="{BBEC1231-AA2B-4236-87BC-DB1166F1A221}">
      <dgm:prSet/>
      <dgm:spPr/>
      <dgm:t>
        <a:bodyPr/>
        <a:lstStyle/>
        <a:p>
          <a:endParaRPr lang="hr-HR" sz="1400"/>
        </a:p>
      </dgm:t>
    </dgm:pt>
    <dgm:pt modelId="{33D8A038-2ED7-4F85-ACD0-4F7E1AC4058B}" type="sibTrans" cxnId="{BBEC1231-AA2B-4236-87BC-DB1166F1A221}">
      <dgm:prSet/>
      <dgm:spPr/>
      <dgm:t>
        <a:bodyPr/>
        <a:lstStyle/>
        <a:p>
          <a:endParaRPr lang="hr-HR" sz="1400"/>
        </a:p>
      </dgm:t>
    </dgm:pt>
    <dgm:pt modelId="{84A82E0F-B8A4-45C8-9697-185350D0072C}">
      <dgm:prSet phldrT="[Text]" custT="1"/>
      <dgm:spPr/>
      <dgm:t>
        <a:bodyPr/>
        <a:lstStyle/>
        <a:p>
          <a:r>
            <a:rPr lang="hr-HR" sz="1400" dirty="0" smtClean="0"/>
            <a:t>Infrastruktura i zaštita okoliša</a:t>
          </a:r>
          <a:endParaRPr lang="hr-HR" sz="1400" dirty="0"/>
        </a:p>
      </dgm:t>
    </dgm:pt>
    <dgm:pt modelId="{E11B754E-51C7-4EC5-A07F-B809290722D4}" type="parTrans" cxnId="{8545E382-ACAC-45D2-8041-8491FC16D0C6}">
      <dgm:prSet/>
      <dgm:spPr/>
      <dgm:t>
        <a:bodyPr/>
        <a:lstStyle/>
        <a:p>
          <a:endParaRPr lang="hr-HR" sz="1400"/>
        </a:p>
      </dgm:t>
    </dgm:pt>
    <dgm:pt modelId="{4014F065-0EEE-4246-93C1-DE8EDC2F6C96}" type="sibTrans" cxnId="{8545E382-ACAC-45D2-8041-8491FC16D0C6}">
      <dgm:prSet/>
      <dgm:spPr/>
      <dgm:t>
        <a:bodyPr/>
        <a:lstStyle/>
        <a:p>
          <a:endParaRPr lang="hr-HR" sz="1400"/>
        </a:p>
      </dgm:t>
    </dgm:pt>
    <dgm:pt modelId="{DFBF026C-B1FD-41AC-A0D4-5E80B4A4CF0E}">
      <dgm:prSet phldrT="[Text]" custT="1"/>
      <dgm:spPr/>
      <dgm:t>
        <a:bodyPr/>
        <a:lstStyle/>
        <a:p>
          <a:r>
            <a:rPr lang="hr-HR" sz="1400" dirty="0" smtClean="0"/>
            <a:t>EU Programi</a:t>
          </a:r>
          <a:endParaRPr lang="hr-HR" sz="1400" dirty="0"/>
        </a:p>
      </dgm:t>
    </dgm:pt>
    <dgm:pt modelId="{15BC5596-77FC-49E5-959A-FB4884B19366}" type="parTrans" cxnId="{2E80C606-F9E0-486D-944B-E0D9A5D79507}">
      <dgm:prSet/>
      <dgm:spPr/>
      <dgm:t>
        <a:bodyPr/>
        <a:lstStyle/>
        <a:p>
          <a:endParaRPr lang="hr-HR" sz="1400"/>
        </a:p>
      </dgm:t>
    </dgm:pt>
    <dgm:pt modelId="{1F5A12B0-19D7-4A79-B65D-DC12E2127391}" type="sibTrans" cxnId="{2E80C606-F9E0-486D-944B-E0D9A5D79507}">
      <dgm:prSet/>
      <dgm:spPr/>
      <dgm:t>
        <a:bodyPr/>
        <a:lstStyle/>
        <a:p>
          <a:endParaRPr lang="hr-HR" sz="1400"/>
        </a:p>
      </dgm:t>
    </dgm:pt>
    <dgm:pt modelId="{7F8A1F3F-AB18-48AC-94DC-8FF806CAB7FF}">
      <dgm:prSet phldrT="[Text]" custT="1"/>
      <dgm:spPr/>
      <dgm:t>
        <a:bodyPr/>
        <a:lstStyle/>
        <a:p>
          <a:r>
            <a:rPr lang="hr-HR" sz="1400" dirty="0" smtClean="0"/>
            <a:t>SME</a:t>
          </a:r>
          <a:endParaRPr lang="hr-HR" sz="1400" dirty="0"/>
        </a:p>
      </dgm:t>
    </dgm:pt>
    <dgm:pt modelId="{E987C396-62FB-4963-AF9E-E770CE3D3CEB}" type="parTrans" cxnId="{631C24D6-DFDD-44C1-BEB6-74222AC82EF0}">
      <dgm:prSet/>
      <dgm:spPr/>
      <dgm:t>
        <a:bodyPr/>
        <a:lstStyle/>
        <a:p>
          <a:endParaRPr lang="hr-HR" sz="1400"/>
        </a:p>
      </dgm:t>
    </dgm:pt>
    <dgm:pt modelId="{A30E994B-15C4-4B2B-9F7E-AC21951FA050}" type="sibTrans" cxnId="{631C24D6-DFDD-44C1-BEB6-74222AC82EF0}">
      <dgm:prSet/>
      <dgm:spPr/>
      <dgm:t>
        <a:bodyPr/>
        <a:lstStyle/>
        <a:p>
          <a:endParaRPr lang="hr-HR" sz="1400"/>
        </a:p>
      </dgm:t>
    </dgm:pt>
    <dgm:pt modelId="{14260FDD-58C8-4927-AB32-85BCDBDC7FC7}">
      <dgm:prSet phldrT="[Text]" custT="1"/>
      <dgm:spPr/>
      <dgm:t>
        <a:bodyPr/>
        <a:lstStyle/>
        <a:p>
          <a:r>
            <a:rPr lang="hr-HR" sz="1400" dirty="0" smtClean="0"/>
            <a:t>Poljoprivreda</a:t>
          </a:r>
          <a:endParaRPr lang="hr-HR" sz="1400" dirty="0"/>
        </a:p>
      </dgm:t>
    </dgm:pt>
    <dgm:pt modelId="{2CBCE833-ED7F-4CC0-9F52-2089EA97D438}" type="parTrans" cxnId="{060BCFCC-4F3C-41B3-A8B9-3C85ADC8DE95}">
      <dgm:prSet/>
      <dgm:spPr/>
      <dgm:t>
        <a:bodyPr/>
        <a:lstStyle/>
        <a:p>
          <a:endParaRPr lang="hr-HR" sz="1400"/>
        </a:p>
      </dgm:t>
    </dgm:pt>
    <dgm:pt modelId="{87116005-E962-4C70-A804-0B0A6C5A4980}" type="sibTrans" cxnId="{060BCFCC-4F3C-41B3-A8B9-3C85ADC8DE95}">
      <dgm:prSet/>
      <dgm:spPr/>
      <dgm:t>
        <a:bodyPr/>
        <a:lstStyle/>
        <a:p>
          <a:endParaRPr lang="hr-HR" sz="1400"/>
        </a:p>
      </dgm:t>
    </dgm:pt>
    <dgm:pt modelId="{D0A3D60F-5D2D-4C99-987C-EFF392C8A592}" type="pres">
      <dgm:prSet presAssocID="{1ADF6D00-DA45-4046-B072-BA90EB0B1D01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hr-HR"/>
        </a:p>
      </dgm:t>
    </dgm:pt>
    <dgm:pt modelId="{C08A6FF3-C62C-4C67-9D53-1CF8A327289B}" type="pres">
      <dgm:prSet presAssocID="{CA8ADB73-44F2-4CB1-9C31-A24DEB1205C9}" presName="Accent1" presStyleCnt="0"/>
      <dgm:spPr/>
    </dgm:pt>
    <dgm:pt modelId="{2BE123E9-2334-477F-AEB4-DF0C34814F7E}" type="pres">
      <dgm:prSet presAssocID="{CA8ADB73-44F2-4CB1-9C31-A24DEB1205C9}" presName="Accent" presStyleLbl="node1" presStyleIdx="0" presStyleCnt="6" custScaleX="130742"/>
      <dgm:spPr/>
    </dgm:pt>
    <dgm:pt modelId="{C1378B90-AED9-40F5-8F00-64412E4AD6F6}" type="pres">
      <dgm:prSet presAssocID="{CA8ADB73-44F2-4CB1-9C31-A24DEB1205C9}" presName="Parent1" presStyleLbl="revTx" presStyleIdx="0" presStyleCnt="6" custScaleX="12866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1562F3C9-793D-41CA-AD5E-D0095E0E5F15}" type="pres">
      <dgm:prSet presAssocID="{2EE2C3D5-BA29-447A-8DC4-224346297A76}" presName="Accent2" presStyleCnt="0"/>
      <dgm:spPr/>
    </dgm:pt>
    <dgm:pt modelId="{894FB522-EE0F-48FC-9048-097CCA33148D}" type="pres">
      <dgm:prSet presAssocID="{2EE2C3D5-BA29-447A-8DC4-224346297A76}" presName="Accent" presStyleLbl="node1" presStyleIdx="1" presStyleCnt="6" custScaleX="136104"/>
      <dgm:spPr/>
    </dgm:pt>
    <dgm:pt modelId="{328B9D26-5507-4E20-96D8-F799B0A35045}" type="pres">
      <dgm:prSet presAssocID="{2EE2C3D5-BA29-447A-8DC4-224346297A76}" presName="Parent2" presStyleLbl="revTx" presStyleIdx="1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2EFF6260-212B-4D62-BFCB-E721CC3C3B5E}" type="pres">
      <dgm:prSet presAssocID="{84A82E0F-B8A4-45C8-9697-185350D0072C}" presName="Accent3" presStyleCnt="0"/>
      <dgm:spPr/>
    </dgm:pt>
    <dgm:pt modelId="{86BCF518-D9C6-47FB-87D0-45FCC407B17F}" type="pres">
      <dgm:prSet presAssocID="{84A82E0F-B8A4-45C8-9697-185350D0072C}" presName="Accent" presStyleLbl="node1" presStyleIdx="2" presStyleCnt="6" custScaleX="128061"/>
      <dgm:spPr/>
    </dgm:pt>
    <dgm:pt modelId="{C810F921-CC0A-48B2-A550-91C4DFB6E93D}" type="pres">
      <dgm:prSet presAssocID="{84A82E0F-B8A4-45C8-9697-185350D0072C}" presName="Parent3" presStyleLbl="revTx" presStyleIdx="2" presStyleCnt="6" custScaleX="16276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8A99E31C-4E50-42CA-8AA6-56CF4336F909}" type="pres">
      <dgm:prSet presAssocID="{DFBF026C-B1FD-41AC-A0D4-5E80B4A4CF0E}" presName="Accent4" presStyleCnt="0"/>
      <dgm:spPr/>
    </dgm:pt>
    <dgm:pt modelId="{DC2F6AE7-7870-471F-BF68-9D926441E4F5}" type="pres">
      <dgm:prSet presAssocID="{DFBF026C-B1FD-41AC-A0D4-5E80B4A4CF0E}" presName="Accent" presStyleLbl="node1" presStyleIdx="3" presStyleCnt="6" custScaleX="142306"/>
      <dgm:spPr/>
    </dgm:pt>
    <dgm:pt modelId="{D060B41B-C438-4D90-9ED7-CDA76C35752F}" type="pres">
      <dgm:prSet presAssocID="{DFBF026C-B1FD-41AC-A0D4-5E80B4A4CF0E}" presName="Parent4" presStyleLbl="revTx" presStyleIdx="3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36369035-3B2E-48D8-A9C1-DAE80587A5CB}" type="pres">
      <dgm:prSet presAssocID="{7F8A1F3F-AB18-48AC-94DC-8FF806CAB7FF}" presName="Accent5" presStyleCnt="0"/>
      <dgm:spPr/>
    </dgm:pt>
    <dgm:pt modelId="{B5821CA9-9200-4D17-8932-3D3D305BCE1B}" type="pres">
      <dgm:prSet presAssocID="{7F8A1F3F-AB18-48AC-94DC-8FF806CAB7FF}" presName="Accent" presStyleLbl="node1" presStyleIdx="4" presStyleCnt="6" custScaleX="137471"/>
      <dgm:spPr/>
    </dgm:pt>
    <dgm:pt modelId="{077B5CA8-D154-49C0-927C-24B2A379670F}" type="pres">
      <dgm:prSet presAssocID="{7F8A1F3F-AB18-48AC-94DC-8FF806CAB7FF}" presName="Parent5" presStyleLbl="revTx" presStyleIdx="4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9458B977-DDD4-45EE-860B-8AAAA3360D6D}" type="pres">
      <dgm:prSet presAssocID="{14260FDD-58C8-4927-AB32-85BCDBDC7FC7}" presName="Accent6" presStyleCnt="0"/>
      <dgm:spPr/>
    </dgm:pt>
    <dgm:pt modelId="{AA01F0AB-C629-49B7-9B24-E1182C5E7F70}" type="pres">
      <dgm:prSet presAssocID="{14260FDD-58C8-4927-AB32-85BCDBDC7FC7}" presName="Accent" presStyleLbl="node1" presStyleIdx="5" presStyleCnt="6" custScaleX="150200"/>
      <dgm:spPr/>
    </dgm:pt>
    <dgm:pt modelId="{5D0015CE-9817-4130-9BC5-442EFD8001D3}" type="pres">
      <dgm:prSet presAssocID="{14260FDD-58C8-4927-AB32-85BCDBDC7FC7}" presName="Parent6" presStyleLbl="revTx" presStyleIdx="5" presStyleCnt="6" custScaleX="15497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hr-HR"/>
        </a:p>
      </dgm:t>
    </dgm:pt>
  </dgm:ptLst>
  <dgm:cxnLst>
    <dgm:cxn modelId="{060BCFCC-4F3C-41B3-A8B9-3C85ADC8DE95}" srcId="{1ADF6D00-DA45-4046-B072-BA90EB0B1D01}" destId="{14260FDD-58C8-4927-AB32-85BCDBDC7FC7}" srcOrd="5" destOrd="0" parTransId="{2CBCE833-ED7F-4CC0-9F52-2089EA97D438}" sibTransId="{87116005-E962-4C70-A804-0B0A6C5A4980}"/>
    <dgm:cxn modelId="{68A8E718-4719-4A7F-9AF6-9DCF3B6DA03A}" type="presOf" srcId="{7F8A1F3F-AB18-48AC-94DC-8FF806CAB7FF}" destId="{077B5CA8-D154-49C0-927C-24B2A379670F}" srcOrd="0" destOrd="0" presId="urn:microsoft.com/office/officeart/2009/layout/CircleArrowProcess"/>
    <dgm:cxn modelId="{8545E382-ACAC-45D2-8041-8491FC16D0C6}" srcId="{1ADF6D00-DA45-4046-B072-BA90EB0B1D01}" destId="{84A82E0F-B8A4-45C8-9697-185350D0072C}" srcOrd="2" destOrd="0" parTransId="{E11B754E-51C7-4EC5-A07F-B809290722D4}" sibTransId="{4014F065-0EEE-4246-93C1-DE8EDC2F6C96}"/>
    <dgm:cxn modelId="{600463BB-13EC-491B-9BE6-3B841CDAD7AA}" type="presOf" srcId="{84A82E0F-B8A4-45C8-9697-185350D0072C}" destId="{C810F921-CC0A-48B2-A550-91C4DFB6E93D}" srcOrd="0" destOrd="0" presId="urn:microsoft.com/office/officeart/2009/layout/CircleArrowProcess"/>
    <dgm:cxn modelId="{2E80C606-F9E0-486D-944B-E0D9A5D79507}" srcId="{1ADF6D00-DA45-4046-B072-BA90EB0B1D01}" destId="{DFBF026C-B1FD-41AC-A0D4-5E80B4A4CF0E}" srcOrd="3" destOrd="0" parTransId="{15BC5596-77FC-49E5-959A-FB4884B19366}" sibTransId="{1F5A12B0-19D7-4A79-B65D-DC12E2127391}"/>
    <dgm:cxn modelId="{3AC1746F-CD6B-4CF7-BFAB-B0398A19B057}" type="presOf" srcId="{14260FDD-58C8-4927-AB32-85BCDBDC7FC7}" destId="{5D0015CE-9817-4130-9BC5-442EFD8001D3}" srcOrd="0" destOrd="0" presId="urn:microsoft.com/office/officeart/2009/layout/CircleArrowProcess"/>
    <dgm:cxn modelId="{C9FF6097-EA27-444B-8F2F-867231BAE03D}" type="presOf" srcId="{CA8ADB73-44F2-4CB1-9C31-A24DEB1205C9}" destId="{C1378B90-AED9-40F5-8F00-64412E4AD6F6}" srcOrd="0" destOrd="0" presId="urn:microsoft.com/office/officeart/2009/layout/CircleArrowProcess"/>
    <dgm:cxn modelId="{BBEC1231-AA2B-4236-87BC-DB1166F1A221}" srcId="{1ADF6D00-DA45-4046-B072-BA90EB0B1D01}" destId="{2EE2C3D5-BA29-447A-8DC4-224346297A76}" srcOrd="1" destOrd="0" parTransId="{B5D2A061-7419-4DCB-8E1D-7D852F7AEE8C}" sibTransId="{33D8A038-2ED7-4F85-ACD0-4F7E1AC4058B}"/>
    <dgm:cxn modelId="{CEE217A5-4D2E-482C-8E1C-0E39DA4ACAEA}" type="presOf" srcId="{DFBF026C-B1FD-41AC-A0D4-5E80B4A4CF0E}" destId="{D060B41B-C438-4D90-9ED7-CDA76C35752F}" srcOrd="0" destOrd="0" presId="urn:microsoft.com/office/officeart/2009/layout/CircleArrowProcess"/>
    <dgm:cxn modelId="{75DC6A75-8BD4-415E-8916-48C47884829C}" srcId="{1ADF6D00-DA45-4046-B072-BA90EB0B1D01}" destId="{CA8ADB73-44F2-4CB1-9C31-A24DEB1205C9}" srcOrd="0" destOrd="0" parTransId="{233D075A-019B-43E6-BCBB-846F104D168A}" sibTransId="{4CAEFBDD-9CA7-4A81-8198-C928C5F75CAF}"/>
    <dgm:cxn modelId="{631C24D6-DFDD-44C1-BEB6-74222AC82EF0}" srcId="{1ADF6D00-DA45-4046-B072-BA90EB0B1D01}" destId="{7F8A1F3F-AB18-48AC-94DC-8FF806CAB7FF}" srcOrd="4" destOrd="0" parTransId="{E987C396-62FB-4963-AF9E-E770CE3D3CEB}" sibTransId="{A30E994B-15C4-4B2B-9F7E-AC21951FA050}"/>
    <dgm:cxn modelId="{DC67E871-BA28-4C8F-9AAF-2214E1EEAD80}" type="presOf" srcId="{1ADF6D00-DA45-4046-B072-BA90EB0B1D01}" destId="{D0A3D60F-5D2D-4C99-987C-EFF392C8A592}" srcOrd="0" destOrd="0" presId="urn:microsoft.com/office/officeart/2009/layout/CircleArrowProcess"/>
    <dgm:cxn modelId="{435B5EE0-2AB0-4935-8633-775973B2D34C}" type="presOf" srcId="{2EE2C3D5-BA29-447A-8DC4-224346297A76}" destId="{328B9D26-5507-4E20-96D8-F799B0A35045}" srcOrd="0" destOrd="0" presId="urn:microsoft.com/office/officeart/2009/layout/CircleArrowProcess"/>
    <dgm:cxn modelId="{ACF3A91F-1232-41AB-9BCF-8DCB6783E4A1}" type="presParOf" srcId="{D0A3D60F-5D2D-4C99-987C-EFF392C8A592}" destId="{C08A6FF3-C62C-4C67-9D53-1CF8A327289B}" srcOrd="0" destOrd="0" presId="urn:microsoft.com/office/officeart/2009/layout/CircleArrowProcess"/>
    <dgm:cxn modelId="{75E3ABB0-8457-4D70-8D5F-439CBCD3CE03}" type="presParOf" srcId="{C08A6FF3-C62C-4C67-9D53-1CF8A327289B}" destId="{2BE123E9-2334-477F-AEB4-DF0C34814F7E}" srcOrd="0" destOrd="0" presId="urn:microsoft.com/office/officeart/2009/layout/CircleArrowProcess"/>
    <dgm:cxn modelId="{FA93B0A2-6465-4334-83AE-D92FC00E0CCF}" type="presParOf" srcId="{D0A3D60F-5D2D-4C99-987C-EFF392C8A592}" destId="{C1378B90-AED9-40F5-8F00-64412E4AD6F6}" srcOrd="1" destOrd="0" presId="urn:microsoft.com/office/officeart/2009/layout/CircleArrowProcess"/>
    <dgm:cxn modelId="{4678A002-5BEC-40BB-9C78-5A2443486963}" type="presParOf" srcId="{D0A3D60F-5D2D-4C99-987C-EFF392C8A592}" destId="{1562F3C9-793D-41CA-AD5E-D0095E0E5F15}" srcOrd="2" destOrd="0" presId="urn:microsoft.com/office/officeart/2009/layout/CircleArrowProcess"/>
    <dgm:cxn modelId="{524C6C16-A3B2-4F1D-B5A9-1348AB210933}" type="presParOf" srcId="{1562F3C9-793D-41CA-AD5E-D0095E0E5F15}" destId="{894FB522-EE0F-48FC-9048-097CCA33148D}" srcOrd="0" destOrd="0" presId="urn:microsoft.com/office/officeart/2009/layout/CircleArrowProcess"/>
    <dgm:cxn modelId="{71A84076-55BB-4EAA-8CA2-D0EEAADC3FB6}" type="presParOf" srcId="{D0A3D60F-5D2D-4C99-987C-EFF392C8A592}" destId="{328B9D26-5507-4E20-96D8-F799B0A35045}" srcOrd="3" destOrd="0" presId="urn:microsoft.com/office/officeart/2009/layout/CircleArrowProcess"/>
    <dgm:cxn modelId="{FA9E40E0-AF41-47D1-B834-ACFE4336A607}" type="presParOf" srcId="{D0A3D60F-5D2D-4C99-987C-EFF392C8A592}" destId="{2EFF6260-212B-4D62-BFCB-E721CC3C3B5E}" srcOrd="4" destOrd="0" presId="urn:microsoft.com/office/officeart/2009/layout/CircleArrowProcess"/>
    <dgm:cxn modelId="{5B5EA265-640A-4359-A5DB-0A3133C19A8F}" type="presParOf" srcId="{2EFF6260-212B-4D62-BFCB-E721CC3C3B5E}" destId="{86BCF518-D9C6-47FB-87D0-45FCC407B17F}" srcOrd="0" destOrd="0" presId="urn:microsoft.com/office/officeart/2009/layout/CircleArrowProcess"/>
    <dgm:cxn modelId="{7FBA5497-57BE-4E9A-A234-588418D67514}" type="presParOf" srcId="{D0A3D60F-5D2D-4C99-987C-EFF392C8A592}" destId="{C810F921-CC0A-48B2-A550-91C4DFB6E93D}" srcOrd="5" destOrd="0" presId="urn:microsoft.com/office/officeart/2009/layout/CircleArrowProcess"/>
    <dgm:cxn modelId="{48747A62-A263-4F15-ACFE-2DB05098485E}" type="presParOf" srcId="{D0A3D60F-5D2D-4C99-987C-EFF392C8A592}" destId="{8A99E31C-4E50-42CA-8AA6-56CF4336F909}" srcOrd="6" destOrd="0" presId="urn:microsoft.com/office/officeart/2009/layout/CircleArrowProcess"/>
    <dgm:cxn modelId="{3A2DCA72-337E-449A-B789-384E3606776E}" type="presParOf" srcId="{8A99E31C-4E50-42CA-8AA6-56CF4336F909}" destId="{DC2F6AE7-7870-471F-BF68-9D926441E4F5}" srcOrd="0" destOrd="0" presId="urn:microsoft.com/office/officeart/2009/layout/CircleArrowProcess"/>
    <dgm:cxn modelId="{C6BC4037-7B15-47F2-BC20-F67473B4ED71}" type="presParOf" srcId="{D0A3D60F-5D2D-4C99-987C-EFF392C8A592}" destId="{D060B41B-C438-4D90-9ED7-CDA76C35752F}" srcOrd="7" destOrd="0" presId="urn:microsoft.com/office/officeart/2009/layout/CircleArrowProcess"/>
    <dgm:cxn modelId="{9C14023F-D349-41F8-9D26-CF0546FB24DA}" type="presParOf" srcId="{D0A3D60F-5D2D-4C99-987C-EFF392C8A592}" destId="{36369035-3B2E-48D8-A9C1-DAE80587A5CB}" srcOrd="8" destOrd="0" presId="urn:microsoft.com/office/officeart/2009/layout/CircleArrowProcess"/>
    <dgm:cxn modelId="{645AFC34-75E4-4119-9490-8EB87F3F1265}" type="presParOf" srcId="{36369035-3B2E-48D8-A9C1-DAE80587A5CB}" destId="{B5821CA9-9200-4D17-8932-3D3D305BCE1B}" srcOrd="0" destOrd="0" presId="urn:microsoft.com/office/officeart/2009/layout/CircleArrowProcess"/>
    <dgm:cxn modelId="{E2A0F086-1DBA-4B86-A77D-0678067F8756}" type="presParOf" srcId="{D0A3D60F-5D2D-4C99-987C-EFF392C8A592}" destId="{077B5CA8-D154-49C0-927C-24B2A379670F}" srcOrd="9" destOrd="0" presId="urn:microsoft.com/office/officeart/2009/layout/CircleArrowProcess"/>
    <dgm:cxn modelId="{F57854AD-97DC-4067-95A2-B6584BFCDE12}" type="presParOf" srcId="{D0A3D60F-5D2D-4C99-987C-EFF392C8A592}" destId="{9458B977-DDD4-45EE-860B-8AAAA3360D6D}" srcOrd="10" destOrd="0" presId="urn:microsoft.com/office/officeart/2009/layout/CircleArrowProcess"/>
    <dgm:cxn modelId="{F867837B-C97D-474D-A315-8668FE1504EB}" type="presParOf" srcId="{9458B977-DDD4-45EE-860B-8AAAA3360D6D}" destId="{AA01F0AB-C629-49B7-9B24-E1182C5E7F70}" srcOrd="0" destOrd="0" presId="urn:microsoft.com/office/officeart/2009/layout/CircleArrowProcess"/>
    <dgm:cxn modelId="{9A4B2FEF-A173-4902-A701-A5C72B8B8448}" type="presParOf" srcId="{D0A3D60F-5D2D-4C99-987C-EFF392C8A592}" destId="{5D0015CE-9817-4130-9BC5-442EFD8001D3}" srcOrd="11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27CFF72-880C-4048-9927-E54914B0C231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3B3ED49B-D91D-41DD-8CD2-367CBBC8C78C}">
      <dgm:prSet custT="1"/>
      <dgm:spPr/>
      <dgm:t>
        <a:bodyPr/>
        <a:lstStyle/>
        <a:p>
          <a:pPr rtl="0"/>
          <a:r>
            <a:rPr lang="hr-HR" sz="1600" dirty="0" smtClean="0"/>
            <a:t>ESIF financijski instrumenti za energetsku učinkovitost i poljoprivredu</a:t>
          </a:r>
          <a:endParaRPr lang="hr-HR" sz="1600" dirty="0"/>
        </a:p>
      </dgm:t>
    </dgm:pt>
    <dgm:pt modelId="{2448CC00-BB89-4365-84BF-9C7CA8C1E47C}" type="parTrans" cxnId="{821ADF72-AB18-4B9A-B94D-D22234874274}">
      <dgm:prSet/>
      <dgm:spPr/>
      <dgm:t>
        <a:bodyPr/>
        <a:lstStyle/>
        <a:p>
          <a:endParaRPr lang="hr-HR" sz="1600"/>
        </a:p>
      </dgm:t>
    </dgm:pt>
    <dgm:pt modelId="{B634A081-596D-4F44-AB93-EE91E8C02FCC}" type="sibTrans" cxnId="{821ADF72-AB18-4B9A-B94D-D22234874274}">
      <dgm:prSet/>
      <dgm:spPr/>
      <dgm:t>
        <a:bodyPr/>
        <a:lstStyle/>
        <a:p>
          <a:endParaRPr lang="hr-HR" sz="1600"/>
        </a:p>
      </dgm:t>
    </dgm:pt>
    <dgm:pt modelId="{8C9D692C-66CC-4BB3-BCE4-6DA73CD63EA1}">
      <dgm:prSet custT="1"/>
      <dgm:spPr/>
      <dgm:t>
        <a:bodyPr/>
        <a:lstStyle/>
        <a:p>
          <a:pPr rtl="0"/>
          <a:r>
            <a:rPr lang="hr-HR" sz="1600" dirty="0" smtClean="0"/>
            <a:t>Jačanje podrške izvoznicima</a:t>
          </a:r>
          <a:endParaRPr lang="hr-HR" sz="1600" dirty="0"/>
        </a:p>
      </dgm:t>
    </dgm:pt>
    <dgm:pt modelId="{BE60852E-5BED-42FE-A80B-8D3F6C862BC8}" type="parTrans" cxnId="{9709355D-D6CC-4A4F-89C0-F726BB2F1CBF}">
      <dgm:prSet/>
      <dgm:spPr/>
      <dgm:t>
        <a:bodyPr/>
        <a:lstStyle/>
        <a:p>
          <a:endParaRPr lang="hr-HR" sz="1600"/>
        </a:p>
      </dgm:t>
    </dgm:pt>
    <dgm:pt modelId="{3267F4EE-9427-4DA2-8127-57A24D172A0B}" type="sibTrans" cxnId="{9709355D-D6CC-4A4F-89C0-F726BB2F1CBF}">
      <dgm:prSet/>
      <dgm:spPr/>
      <dgm:t>
        <a:bodyPr/>
        <a:lstStyle/>
        <a:p>
          <a:endParaRPr lang="hr-HR" sz="1600"/>
        </a:p>
      </dgm:t>
    </dgm:pt>
    <dgm:pt modelId="{115F71EE-3877-4CBF-A9F1-304B436F4213}">
      <dgm:prSet custT="1"/>
      <dgm:spPr/>
      <dgm:t>
        <a:bodyPr/>
        <a:lstStyle/>
        <a:p>
          <a:pPr rtl="0"/>
          <a:r>
            <a:rPr lang="hr-HR" sz="1600" smtClean="0"/>
            <a:t>Equity financiranje</a:t>
          </a:r>
          <a:endParaRPr lang="hr-HR" sz="1600"/>
        </a:p>
      </dgm:t>
    </dgm:pt>
    <dgm:pt modelId="{A0913ACD-01A9-4D1A-AD43-3920653DE32B}" type="parTrans" cxnId="{31DC8BFE-46F3-44AD-82A9-F118270C0577}">
      <dgm:prSet/>
      <dgm:spPr/>
      <dgm:t>
        <a:bodyPr/>
        <a:lstStyle/>
        <a:p>
          <a:endParaRPr lang="hr-HR" sz="1600"/>
        </a:p>
      </dgm:t>
    </dgm:pt>
    <dgm:pt modelId="{263BA8E3-3EB2-46B4-BFAC-ED6BAD9D9377}" type="sibTrans" cxnId="{31DC8BFE-46F3-44AD-82A9-F118270C0577}">
      <dgm:prSet/>
      <dgm:spPr/>
      <dgm:t>
        <a:bodyPr/>
        <a:lstStyle/>
        <a:p>
          <a:endParaRPr lang="hr-HR" sz="1600"/>
        </a:p>
      </dgm:t>
    </dgm:pt>
    <dgm:pt modelId="{A665B606-6209-4E1D-A5DE-9BF53D194B4D}" type="pres">
      <dgm:prSet presAssocID="{C27CFF72-880C-4048-9927-E54914B0C231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hr-HR"/>
        </a:p>
      </dgm:t>
    </dgm:pt>
    <dgm:pt modelId="{14461C67-BA0C-465D-8052-D970DC82BD14}" type="pres">
      <dgm:prSet presAssocID="{3B3ED49B-D91D-41DD-8CD2-367CBBC8C78C}" presName="parentLin" presStyleCnt="0"/>
      <dgm:spPr/>
      <dgm:t>
        <a:bodyPr/>
        <a:lstStyle/>
        <a:p>
          <a:endParaRPr lang="hr-HR"/>
        </a:p>
      </dgm:t>
    </dgm:pt>
    <dgm:pt modelId="{A30A97F0-3478-4B73-93C5-D043CBDC6A70}" type="pres">
      <dgm:prSet presAssocID="{3B3ED49B-D91D-41DD-8CD2-367CBBC8C78C}" presName="parentLeftMargin" presStyleLbl="node1" presStyleIdx="0" presStyleCnt="3"/>
      <dgm:spPr/>
      <dgm:t>
        <a:bodyPr/>
        <a:lstStyle/>
        <a:p>
          <a:endParaRPr lang="hr-HR"/>
        </a:p>
      </dgm:t>
    </dgm:pt>
    <dgm:pt modelId="{566D6A6F-F3C5-4E5E-A601-8CE23A5CE541}" type="pres">
      <dgm:prSet presAssocID="{3B3ED49B-D91D-41DD-8CD2-367CBBC8C78C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310BAFB5-DB92-4BC6-89D2-34E05875A38D}" type="pres">
      <dgm:prSet presAssocID="{3B3ED49B-D91D-41DD-8CD2-367CBBC8C78C}" presName="negativeSpace" presStyleCnt="0"/>
      <dgm:spPr/>
      <dgm:t>
        <a:bodyPr/>
        <a:lstStyle/>
        <a:p>
          <a:endParaRPr lang="hr-HR"/>
        </a:p>
      </dgm:t>
    </dgm:pt>
    <dgm:pt modelId="{9B0B1A03-86D2-4568-9527-360F2383F779}" type="pres">
      <dgm:prSet presAssocID="{3B3ED49B-D91D-41DD-8CD2-367CBBC8C78C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FED2106A-CB6A-4F3E-9502-C4A745F1AC3B}" type="pres">
      <dgm:prSet presAssocID="{B634A081-596D-4F44-AB93-EE91E8C02FCC}" presName="spaceBetweenRectangles" presStyleCnt="0"/>
      <dgm:spPr/>
      <dgm:t>
        <a:bodyPr/>
        <a:lstStyle/>
        <a:p>
          <a:endParaRPr lang="hr-HR"/>
        </a:p>
      </dgm:t>
    </dgm:pt>
    <dgm:pt modelId="{BC2108CB-2F2D-4C4C-BEE4-310BC6E7D9E5}" type="pres">
      <dgm:prSet presAssocID="{8C9D692C-66CC-4BB3-BCE4-6DA73CD63EA1}" presName="parentLin" presStyleCnt="0"/>
      <dgm:spPr/>
      <dgm:t>
        <a:bodyPr/>
        <a:lstStyle/>
        <a:p>
          <a:endParaRPr lang="hr-HR"/>
        </a:p>
      </dgm:t>
    </dgm:pt>
    <dgm:pt modelId="{5CE6A468-56BD-45C0-BC88-52A2D7A732DE}" type="pres">
      <dgm:prSet presAssocID="{8C9D692C-66CC-4BB3-BCE4-6DA73CD63EA1}" presName="parentLeftMargin" presStyleLbl="node1" presStyleIdx="0" presStyleCnt="3"/>
      <dgm:spPr/>
      <dgm:t>
        <a:bodyPr/>
        <a:lstStyle/>
        <a:p>
          <a:endParaRPr lang="hr-HR"/>
        </a:p>
      </dgm:t>
    </dgm:pt>
    <dgm:pt modelId="{A80A712E-6447-43C6-80A6-AE36BA6AE46D}" type="pres">
      <dgm:prSet presAssocID="{8C9D692C-66CC-4BB3-BCE4-6DA73CD63EA1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7B7EA9AD-1375-4C6C-8DCA-14ABE7E5F255}" type="pres">
      <dgm:prSet presAssocID="{8C9D692C-66CC-4BB3-BCE4-6DA73CD63EA1}" presName="negativeSpace" presStyleCnt="0"/>
      <dgm:spPr/>
      <dgm:t>
        <a:bodyPr/>
        <a:lstStyle/>
        <a:p>
          <a:endParaRPr lang="hr-HR"/>
        </a:p>
      </dgm:t>
    </dgm:pt>
    <dgm:pt modelId="{09DEF94A-DCC2-4DAF-B831-143F63F3D093}" type="pres">
      <dgm:prSet presAssocID="{8C9D692C-66CC-4BB3-BCE4-6DA73CD63EA1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E9B44859-A1CE-4C99-A993-F82886CE9C22}" type="pres">
      <dgm:prSet presAssocID="{3267F4EE-9427-4DA2-8127-57A24D172A0B}" presName="spaceBetweenRectangles" presStyleCnt="0"/>
      <dgm:spPr/>
      <dgm:t>
        <a:bodyPr/>
        <a:lstStyle/>
        <a:p>
          <a:endParaRPr lang="hr-HR"/>
        </a:p>
      </dgm:t>
    </dgm:pt>
    <dgm:pt modelId="{C75754C4-CA56-407D-AFA5-534CADAA32A1}" type="pres">
      <dgm:prSet presAssocID="{115F71EE-3877-4CBF-A9F1-304B436F4213}" presName="parentLin" presStyleCnt="0"/>
      <dgm:spPr/>
      <dgm:t>
        <a:bodyPr/>
        <a:lstStyle/>
        <a:p>
          <a:endParaRPr lang="hr-HR"/>
        </a:p>
      </dgm:t>
    </dgm:pt>
    <dgm:pt modelId="{28723D28-D0E2-4367-90CF-B6E5E7C54B81}" type="pres">
      <dgm:prSet presAssocID="{115F71EE-3877-4CBF-A9F1-304B436F4213}" presName="parentLeftMargin" presStyleLbl="node1" presStyleIdx="1" presStyleCnt="3"/>
      <dgm:spPr/>
      <dgm:t>
        <a:bodyPr/>
        <a:lstStyle/>
        <a:p>
          <a:endParaRPr lang="hr-HR"/>
        </a:p>
      </dgm:t>
    </dgm:pt>
    <dgm:pt modelId="{745D2BEB-462E-472B-9480-90E03D5FCBBA}" type="pres">
      <dgm:prSet presAssocID="{115F71EE-3877-4CBF-A9F1-304B436F4213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B274158B-ACFF-485E-9061-26E20DA2F861}" type="pres">
      <dgm:prSet presAssocID="{115F71EE-3877-4CBF-A9F1-304B436F4213}" presName="negativeSpace" presStyleCnt="0"/>
      <dgm:spPr/>
      <dgm:t>
        <a:bodyPr/>
        <a:lstStyle/>
        <a:p>
          <a:endParaRPr lang="hr-HR"/>
        </a:p>
      </dgm:t>
    </dgm:pt>
    <dgm:pt modelId="{31B68BF2-FC1D-44E6-B9D6-20F2F2BF9CA3}" type="pres">
      <dgm:prSet presAssocID="{115F71EE-3877-4CBF-A9F1-304B436F4213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</dgm:ptLst>
  <dgm:cxnLst>
    <dgm:cxn modelId="{15BA4ADA-DA96-4410-9DDE-4416614BC4BF}" type="presOf" srcId="{115F71EE-3877-4CBF-A9F1-304B436F4213}" destId="{28723D28-D0E2-4367-90CF-B6E5E7C54B81}" srcOrd="0" destOrd="0" presId="urn:microsoft.com/office/officeart/2005/8/layout/list1"/>
    <dgm:cxn modelId="{A0F32556-3D2D-42F3-BD1F-214F2665F5BB}" type="presOf" srcId="{C27CFF72-880C-4048-9927-E54914B0C231}" destId="{A665B606-6209-4E1D-A5DE-9BF53D194B4D}" srcOrd="0" destOrd="0" presId="urn:microsoft.com/office/officeart/2005/8/layout/list1"/>
    <dgm:cxn modelId="{7CB44988-E894-4FFD-A29E-E9C1D8B69864}" type="presOf" srcId="{3B3ED49B-D91D-41DD-8CD2-367CBBC8C78C}" destId="{566D6A6F-F3C5-4E5E-A601-8CE23A5CE541}" srcOrd="1" destOrd="0" presId="urn:microsoft.com/office/officeart/2005/8/layout/list1"/>
    <dgm:cxn modelId="{9709355D-D6CC-4A4F-89C0-F726BB2F1CBF}" srcId="{C27CFF72-880C-4048-9927-E54914B0C231}" destId="{8C9D692C-66CC-4BB3-BCE4-6DA73CD63EA1}" srcOrd="1" destOrd="0" parTransId="{BE60852E-5BED-42FE-A80B-8D3F6C862BC8}" sibTransId="{3267F4EE-9427-4DA2-8127-57A24D172A0B}"/>
    <dgm:cxn modelId="{821ADF72-AB18-4B9A-B94D-D22234874274}" srcId="{C27CFF72-880C-4048-9927-E54914B0C231}" destId="{3B3ED49B-D91D-41DD-8CD2-367CBBC8C78C}" srcOrd="0" destOrd="0" parTransId="{2448CC00-BB89-4365-84BF-9C7CA8C1E47C}" sibTransId="{B634A081-596D-4F44-AB93-EE91E8C02FCC}"/>
    <dgm:cxn modelId="{2CEA684E-E45C-4E47-BE4C-CF8EA5FEED09}" type="presOf" srcId="{8C9D692C-66CC-4BB3-BCE4-6DA73CD63EA1}" destId="{A80A712E-6447-43C6-80A6-AE36BA6AE46D}" srcOrd="1" destOrd="0" presId="urn:microsoft.com/office/officeart/2005/8/layout/list1"/>
    <dgm:cxn modelId="{034204B8-3EFA-4821-A50A-91147B2C8E6E}" type="presOf" srcId="{8C9D692C-66CC-4BB3-BCE4-6DA73CD63EA1}" destId="{5CE6A468-56BD-45C0-BC88-52A2D7A732DE}" srcOrd="0" destOrd="0" presId="urn:microsoft.com/office/officeart/2005/8/layout/list1"/>
    <dgm:cxn modelId="{C51CF5E0-2D34-4CF8-8A4A-6C12F219FB23}" type="presOf" srcId="{115F71EE-3877-4CBF-A9F1-304B436F4213}" destId="{745D2BEB-462E-472B-9480-90E03D5FCBBA}" srcOrd="1" destOrd="0" presId="urn:microsoft.com/office/officeart/2005/8/layout/list1"/>
    <dgm:cxn modelId="{31DC8BFE-46F3-44AD-82A9-F118270C0577}" srcId="{C27CFF72-880C-4048-9927-E54914B0C231}" destId="{115F71EE-3877-4CBF-A9F1-304B436F4213}" srcOrd="2" destOrd="0" parTransId="{A0913ACD-01A9-4D1A-AD43-3920653DE32B}" sibTransId="{263BA8E3-3EB2-46B4-BFAC-ED6BAD9D9377}"/>
    <dgm:cxn modelId="{440D0367-0CF7-445F-AFBC-BF077B0DE36A}" type="presOf" srcId="{3B3ED49B-D91D-41DD-8CD2-367CBBC8C78C}" destId="{A30A97F0-3478-4B73-93C5-D043CBDC6A70}" srcOrd="0" destOrd="0" presId="urn:microsoft.com/office/officeart/2005/8/layout/list1"/>
    <dgm:cxn modelId="{0F1099DE-0C25-4934-84B3-742481DB9AAC}" type="presParOf" srcId="{A665B606-6209-4E1D-A5DE-9BF53D194B4D}" destId="{14461C67-BA0C-465D-8052-D970DC82BD14}" srcOrd="0" destOrd="0" presId="urn:microsoft.com/office/officeart/2005/8/layout/list1"/>
    <dgm:cxn modelId="{EFF86671-C131-481F-81A1-D5990D65DC2E}" type="presParOf" srcId="{14461C67-BA0C-465D-8052-D970DC82BD14}" destId="{A30A97F0-3478-4B73-93C5-D043CBDC6A70}" srcOrd="0" destOrd="0" presId="urn:microsoft.com/office/officeart/2005/8/layout/list1"/>
    <dgm:cxn modelId="{78E1C180-8671-43E5-8948-337E37A3CCED}" type="presParOf" srcId="{14461C67-BA0C-465D-8052-D970DC82BD14}" destId="{566D6A6F-F3C5-4E5E-A601-8CE23A5CE541}" srcOrd="1" destOrd="0" presId="urn:microsoft.com/office/officeart/2005/8/layout/list1"/>
    <dgm:cxn modelId="{FA94E0AD-0A03-464F-A0B2-FA119A5BE424}" type="presParOf" srcId="{A665B606-6209-4E1D-A5DE-9BF53D194B4D}" destId="{310BAFB5-DB92-4BC6-89D2-34E05875A38D}" srcOrd="1" destOrd="0" presId="urn:microsoft.com/office/officeart/2005/8/layout/list1"/>
    <dgm:cxn modelId="{1DD3E53E-34CA-4BA1-8487-6CC32415A75F}" type="presParOf" srcId="{A665B606-6209-4E1D-A5DE-9BF53D194B4D}" destId="{9B0B1A03-86D2-4568-9527-360F2383F779}" srcOrd="2" destOrd="0" presId="urn:microsoft.com/office/officeart/2005/8/layout/list1"/>
    <dgm:cxn modelId="{D33B0C76-E700-42A2-9128-879EB0C6C2AB}" type="presParOf" srcId="{A665B606-6209-4E1D-A5DE-9BF53D194B4D}" destId="{FED2106A-CB6A-4F3E-9502-C4A745F1AC3B}" srcOrd="3" destOrd="0" presId="urn:microsoft.com/office/officeart/2005/8/layout/list1"/>
    <dgm:cxn modelId="{736EAF28-6CF3-4F55-BDCA-8DADC4F6036D}" type="presParOf" srcId="{A665B606-6209-4E1D-A5DE-9BF53D194B4D}" destId="{BC2108CB-2F2D-4C4C-BEE4-310BC6E7D9E5}" srcOrd="4" destOrd="0" presId="urn:microsoft.com/office/officeart/2005/8/layout/list1"/>
    <dgm:cxn modelId="{6D60A5DE-1E20-41B0-B6A0-66C2D3D4168E}" type="presParOf" srcId="{BC2108CB-2F2D-4C4C-BEE4-310BC6E7D9E5}" destId="{5CE6A468-56BD-45C0-BC88-52A2D7A732DE}" srcOrd="0" destOrd="0" presId="urn:microsoft.com/office/officeart/2005/8/layout/list1"/>
    <dgm:cxn modelId="{DE8274F7-6B61-44DC-B3A8-896F476668B8}" type="presParOf" srcId="{BC2108CB-2F2D-4C4C-BEE4-310BC6E7D9E5}" destId="{A80A712E-6447-43C6-80A6-AE36BA6AE46D}" srcOrd="1" destOrd="0" presId="urn:microsoft.com/office/officeart/2005/8/layout/list1"/>
    <dgm:cxn modelId="{B937A5F3-A49E-479F-843C-D3AAF0385AB9}" type="presParOf" srcId="{A665B606-6209-4E1D-A5DE-9BF53D194B4D}" destId="{7B7EA9AD-1375-4C6C-8DCA-14ABE7E5F255}" srcOrd="5" destOrd="0" presId="urn:microsoft.com/office/officeart/2005/8/layout/list1"/>
    <dgm:cxn modelId="{A47B3EB0-1784-422D-B56C-B88E7834751C}" type="presParOf" srcId="{A665B606-6209-4E1D-A5DE-9BF53D194B4D}" destId="{09DEF94A-DCC2-4DAF-B831-143F63F3D093}" srcOrd="6" destOrd="0" presId="urn:microsoft.com/office/officeart/2005/8/layout/list1"/>
    <dgm:cxn modelId="{BC67AD94-488A-47E8-9C45-CB2D2FE52776}" type="presParOf" srcId="{A665B606-6209-4E1D-A5DE-9BF53D194B4D}" destId="{E9B44859-A1CE-4C99-A993-F82886CE9C22}" srcOrd="7" destOrd="0" presId="urn:microsoft.com/office/officeart/2005/8/layout/list1"/>
    <dgm:cxn modelId="{50A596BD-36B6-46FE-AE4C-E252D1D48E58}" type="presParOf" srcId="{A665B606-6209-4E1D-A5DE-9BF53D194B4D}" destId="{C75754C4-CA56-407D-AFA5-534CADAA32A1}" srcOrd="8" destOrd="0" presId="urn:microsoft.com/office/officeart/2005/8/layout/list1"/>
    <dgm:cxn modelId="{03720CCC-CF81-4821-84B7-B80E2F832B15}" type="presParOf" srcId="{C75754C4-CA56-407D-AFA5-534CADAA32A1}" destId="{28723D28-D0E2-4367-90CF-B6E5E7C54B81}" srcOrd="0" destOrd="0" presId="urn:microsoft.com/office/officeart/2005/8/layout/list1"/>
    <dgm:cxn modelId="{E3E776F1-04AB-46AE-AE1D-40CD00DDD7A1}" type="presParOf" srcId="{C75754C4-CA56-407D-AFA5-534CADAA32A1}" destId="{745D2BEB-462E-472B-9480-90E03D5FCBBA}" srcOrd="1" destOrd="0" presId="urn:microsoft.com/office/officeart/2005/8/layout/list1"/>
    <dgm:cxn modelId="{781E45DE-8BA6-411B-9CE6-FCD387FE20B0}" type="presParOf" srcId="{A665B606-6209-4E1D-A5DE-9BF53D194B4D}" destId="{B274158B-ACFF-485E-9061-26E20DA2F861}" srcOrd="9" destOrd="0" presId="urn:microsoft.com/office/officeart/2005/8/layout/list1"/>
    <dgm:cxn modelId="{F40EE311-439B-46C3-9266-2BC45EE99BC4}" type="presParOf" srcId="{A665B606-6209-4E1D-A5DE-9BF53D194B4D}" destId="{31B68BF2-FC1D-44E6-B9D6-20F2F2BF9CA3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973453E-C018-4ABF-BF1C-59D60FD1848A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821192AE-5D77-4D15-B269-3417F15BDF25}">
      <dgm:prSet custT="1"/>
      <dgm:spPr/>
      <dgm:t>
        <a:bodyPr/>
        <a:lstStyle/>
        <a:p>
          <a:pPr rtl="0"/>
          <a:r>
            <a:rPr lang="hr-HR" sz="1800" b="1" i="1" smtClean="0"/>
            <a:t>Kreditiranje pripreme i naplate izvoznih poslova</a:t>
          </a:r>
          <a:endParaRPr lang="hr-HR" sz="1800"/>
        </a:p>
      </dgm:t>
    </dgm:pt>
    <dgm:pt modelId="{24E9317D-EE6E-44BF-B054-45EEAE26034D}" type="parTrans" cxnId="{76A6912F-42D6-4083-A30E-E6E2A88D4619}">
      <dgm:prSet/>
      <dgm:spPr/>
      <dgm:t>
        <a:bodyPr/>
        <a:lstStyle/>
        <a:p>
          <a:endParaRPr lang="hr-HR" sz="1800"/>
        </a:p>
      </dgm:t>
    </dgm:pt>
    <dgm:pt modelId="{EC0D29D6-931D-49B2-9152-78171C53D50F}" type="sibTrans" cxnId="{76A6912F-42D6-4083-A30E-E6E2A88D4619}">
      <dgm:prSet/>
      <dgm:spPr/>
      <dgm:t>
        <a:bodyPr/>
        <a:lstStyle/>
        <a:p>
          <a:endParaRPr lang="hr-HR" sz="1800"/>
        </a:p>
      </dgm:t>
    </dgm:pt>
    <dgm:pt modelId="{AF89842E-47C0-47C0-857E-1B06F20DFB4A}">
      <dgm:prSet custT="1"/>
      <dgm:spPr/>
      <dgm:t>
        <a:bodyPr/>
        <a:lstStyle/>
        <a:p>
          <a:pPr rtl="0"/>
          <a:r>
            <a:rPr lang="hr-HR" sz="1800" b="1" i="1" smtClean="0"/>
            <a:t>Krediti inozemnim kupcima i krediti dobavljačima</a:t>
          </a:r>
          <a:endParaRPr lang="hr-HR" sz="1800"/>
        </a:p>
      </dgm:t>
    </dgm:pt>
    <dgm:pt modelId="{6A44C437-4DAA-4387-BD0B-5D7D25F73B74}" type="parTrans" cxnId="{9E1770C9-FDB8-41B8-BD20-5F132A6FD796}">
      <dgm:prSet/>
      <dgm:spPr/>
      <dgm:t>
        <a:bodyPr/>
        <a:lstStyle/>
        <a:p>
          <a:endParaRPr lang="hr-HR" sz="1800"/>
        </a:p>
      </dgm:t>
    </dgm:pt>
    <dgm:pt modelId="{2B91505F-1E9B-4A5B-B431-3CE96F644495}" type="sibTrans" cxnId="{9E1770C9-FDB8-41B8-BD20-5F132A6FD796}">
      <dgm:prSet/>
      <dgm:spPr/>
      <dgm:t>
        <a:bodyPr/>
        <a:lstStyle/>
        <a:p>
          <a:endParaRPr lang="hr-HR" sz="1800"/>
        </a:p>
      </dgm:t>
    </dgm:pt>
    <dgm:pt modelId="{C64C228C-2D62-48BC-83EE-5CB9B332A8A4}">
      <dgm:prSet custT="1"/>
      <dgm:spPr/>
      <dgm:t>
        <a:bodyPr/>
        <a:lstStyle/>
        <a:p>
          <a:pPr rtl="0"/>
          <a:r>
            <a:rPr lang="hr-HR" sz="1800" b="1" i="1" smtClean="0"/>
            <a:t>Izvozne činidbene garancije</a:t>
          </a:r>
          <a:endParaRPr lang="hr-HR" sz="1800"/>
        </a:p>
      </dgm:t>
    </dgm:pt>
    <dgm:pt modelId="{DE22E279-104E-420A-A215-6181164DE23B}" type="parTrans" cxnId="{81F8A720-C31D-47DB-B68F-261F8889462E}">
      <dgm:prSet/>
      <dgm:spPr/>
      <dgm:t>
        <a:bodyPr/>
        <a:lstStyle/>
        <a:p>
          <a:endParaRPr lang="hr-HR" sz="1800"/>
        </a:p>
      </dgm:t>
    </dgm:pt>
    <dgm:pt modelId="{2A8B0CA9-583F-491A-A8C8-B90AD5276A15}" type="sibTrans" cxnId="{81F8A720-C31D-47DB-B68F-261F8889462E}">
      <dgm:prSet/>
      <dgm:spPr/>
      <dgm:t>
        <a:bodyPr/>
        <a:lstStyle/>
        <a:p>
          <a:endParaRPr lang="hr-HR" sz="1800"/>
        </a:p>
      </dgm:t>
    </dgm:pt>
    <dgm:pt modelId="{73DA5791-997D-40A5-961E-3EF541AD32B2}">
      <dgm:prSet custT="1"/>
      <dgm:spPr/>
      <dgm:t>
        <a:bodyPr/>
        <a:lstStyle/>
        <a:p>
          <a:pPr rtl="0"/>
          <a:r>
            <a:rPr lang="hr-HR" sz="1800" b="1" i="1" smtClean="0"/>
            <a:t>Ponudbene garancije</a:t>
          </a:r>
          <a:endParaRPr lang="hr-HR" sz="1800"/>
        </a:p>
      </dgm:t>
    </dgm:pt>
    <dgm:pt modelId="{87B30E7D-4251-493B-B53B-AB25DEEFACBF}" type="parTrans" cxnId="{BB0DABB2-257B-42B9-98FB-9C262C254297}">
      <dgm:prSet/>
      <dgm:spPr/>
      <dgm:t>
        <a:bodyPr/>
        <a:lstStyle/>
        <a:p>
          <a:endParaRPr lang="hr-HR" sz="1800"/>
        </a:p>
      </dgm:t>
    </dgm:pt>
    <dgm:pt modelId="{4E6CAF2B-8450-4C78-95F7-4CA5323F47D5}" type="sibTrans" cxnId="{BB0DABB2-257B-42B9-98FB-9C262C254297}">
      <dgm:prSet/>
      <dgm:spPr/>
      <dgm:t>
        <a:bodyPr/>
        <a:lstStyle/>
        <a:p>
          <a:endParaRPr lang="hr-HR" sz="1800"/>
        </a:p>
      </dgm:t>
    </dgm:pt>
    <dgm:pt modelId="{75055391-C550-4BD1-B6FE-C538CC2542E1}">
      <dgm:prSet custT="1"/>
      <dgm:spPr/>
      <dgm:t>
        <a:bodyPr/>
        <a:lstStyle/>
        <a:p>
          <a:pPr rtl="0"/>
          <a:r>
            <a:rPr lang="hr-HR" sz="1800" b="1" i="1" dirty="0" smtClean="0"/>
            <a:t>Garancije za povrat avansa</a:t>
          </a:r>
          <a:endParaRPr lang="hr-HR" sz="1800" dirty="0"/>
        </a:p>
      </dgm:t>
    </dgm:pt>
    <dgm:pt modelId="{2DF9454F-9B2D-4A65-815F-F0F6FB118330}" type="parTrans" cxnId="{E3A4730F-1012-4897-AA83-D4B1E5884F0C}">
      <dgm:prSet/>
      <dgm:spPr/>
      <dgm:t>
        <a:bodyPr/>
        <a:lstStyle/>
        <a:p>
          <a:endParaRPr lang="hr-HR" sz="1800"/>
        </a:p>
      </dgm:t>
    </dgm:pt>
    <dgm:pt modelId="{EDBF2DAF-4F83-4D98-8AC9-83CC9FFCEFD1}" type="sibTrans" cxnId="{E3A4730F-1012-4897-AA83-D4B1E5884F0C}">
      <dgm:prSet/>
      <dgm:spPr/>
      <dgm:t>
        <a:bodyPr/>
        <a:lstStyle/>
        <a:p>
          <a:endParaRPr lang="hr-HR" sz="1800"/>
        </a:p>
      </dgm:t>
    </dgm:pt>
    <dgm:pt modelId="{E0CB091B-AB64-4901-92F2-9FEABF3BE65F}">
      <dgm:prSet custT="1"/>
      <dgm:spPr/>
      <dgm:t>
        <a:bodyPr/>
        <a:lstStyle/>
        <a:p>
          <a:pPr rtl="0"/>
          <a:r>
            <a:rPr lang="hr-HR" sz="1800" b="1" i="1" smtClean="0"/>
            <a:t>Garancije za dobro izvršenje posla</a:t>
          </a:r>
          <a:endParaRPr lang="hr-HR" sz="1800"/>
        </a:p>
      </dgm:t>
    </dgm:pt>
    <dgm:pt modelId="{F0810770-1E6D-4F84-B89B-B982140B26FF}" type="parTrans" cxnId="{CE3E9645-9655-4E55-BA7E-AFEE4D3B9DB5}">
      <dgm:prSet/>
      <dgm:spPr/>
      <dgm:t>
        <a:bodyPr/>
        <a:lstStyle/>
        <a:p>
          <a:endParaRPr lang="hr-HR" sz="1800"/>
        </a:p>
      </dgm:t>
    </dgm:pt>
    <dgm:pt modelId="{6CD2DF3E-BBBE-4D48-9531-8EF5B6D2AB01}" type="sibTrans" cxnId="{CE3E9645-9655-4E55-BA7E-AFEE4D3B9DB5}">
      <dgm:prSet/>
      <dgm:spPr/>
      <dgm:t>
        <a:bodyPr/>
        <a:lstStyle/>
        <a:p>
          <a:endParaRPr lang="hr-HR" sz="1800"/>
        </a:p>
      </dgm:t>
    </dgm:pt>
    <dgm:pt modelId="{F01F3DC3-5502-4E18-902D-7F875C47BFBC}">
      <dgm:prSet custT="1"/>
      <dgm:spPr/>
      <dgm:t>
        <a:bodyPr/>
        <a:lstStyle/>
        <a:p>
          <a:pPr rtl="0"/>
          <a:r>
            <a:rPr lang="hr-HR" sz="1800" b="1" i="1" smtClean="0"/>
            <a:t>Garancije za garantni period</a:t>
          </a:r>
          <a:endParaRPr lang="hr-HR" sz="1800"/>
        </a:p>
      </dgm:t>
    </dgm:pt>
    <dgm:pt modelId="{128C09A1-973D-498D-95E0-A93180C11741}" type="parTrans" cxnId="{D41139FA-9428-4B34-A5B4-F3F698A5918B}">
      <dgm:prSet/>
      <dgm:spPr/>
      <dgm:t>
        <a:bodyPr/>
        <a:lstStyle/>
        <a:p>
          <a:endParaRPr lang="hr-HR" sz="1800"/>
        </a:p>
      </dgm:t>
    </dgm:pt>
    <dgm:pt modelId="{E170C9B1-5CE9-483F-93BD-AC93AD49E56E}" type="sibTrans" cxnId="{D41139FA-9428-4B34-A5B4-F3F698A5918B}">
      <dgm:prSet/>
      <dgm:spPr/>
      <dgm:t>
        <a:bodyPr/>
        <a:lstStyle/>
        <a:p>
          <a:endParaRPr lang="hr-HR" sz="1800"/>
        </a:p>
      </dgm:t>
    </dgm:pt>
    <dgm:pt modelId="{A7ADDFB0-443B-4D27-9368-ED373AC86376}" type="pres">
      <dgm:prSet presAssocID="{6973453E-C018-4ABF-BF1C-59D60FD1848A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hr-HR"/>
        </a:p>
      </dgm:t>
    </dgm:pt>
    <dgm:pt modelId="{29872981-23FA-43C1-A4EC-D9198A284FFF}" type="pres">
      <dgm:prSet presAssocID="{821192AE-5D77-4D15-B269-3417F15BDF25}" presName="parentLin" presStyleCnt="0"/>
      <dgm:spPr/>
    </dgm:pt>
    <dgm:pt modelId="{FB683D62-F9A5-44D9-BC71-B511AB8BF311}" type="pres">
      <dgm:prSet presAssocID="{821192AE-5D77-4D15-B269-3417F15BDF25}" presName="parentLeftMargin" presStyleLbl="node1" presStyleIdx="0" presStyleCnt="3"/>
      <dgm:spPr/>
      <dgm:t>
        <a:bodyPr/>
        <a:lstStyle/>
        <a:p>
          <a:endParaRPr lang="hr-HR"/>
        </a:p>
      </dgm:t>
    </dgm:pt>
    <dgm:pt modelId="{6C497797-E6DD-4C01-9CEF-838E4D4B5C7F}" type="pres">
      <dgm:prSet presAssocID="{821192AE-5D77-4D15-B269-3417F15BDF25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59A56038-A850-4BF0-9ED8-85BF7DFDC440}" type="pres">
      <dgm:prSet presAssocID="{821192AE-5D77-4D15-B269-3417F15BDF25}" presName="negativeSpace" presStyleCnt="0"/>
      <dgm:spPr/>
    </dgm:pt>
    <dgm:pt modelId="{AEFA66EF-2AA3-4984-9D3E-A9A0D98F60E5}" type="pres">
      <dgm:prSet presAssocID="{821192AE-5D77-4D15-B269-3417F15BDF25}" presName="childText" presStyleLbl="conFgAcc1" presStyleIdx="0" presStyleCnt="3">
        <dgm:presLayoutVars>
          <dgm:bulletEnabled val="1"/>
        </dgm:presLayoutVars>
      </dgm:prSet>
      <dgm:spPr/>
    </dgm:pt>
    <dgm:pt modelId="{AC6A3BBA-234C-40BE-AE0F-9874ADA3C8C1}" type="pres">
      <dgm:prSet presAssocID="{EC0D29D6-931D-49B2-9152-78171C53D50F}" presName="spaceBetweenRectangles" presStyleCnt="0"/>
      <dgm:spPr/>
    </dgm:pt>
    <dgm:pt modelId="{EEF7CE4E-7D0E-457A-97CE-C92F20BB65C2}" type="pres">
      <dgm:prSet presAssocID="{AF89842E-47C0-47C0-857E-1B06F20DFB4A}" presName="parentLin" presStyleCnt="0"/>
      <dgm:spPr/>
    </dgm:pt>
    <dgm:pt modelId="{D081FA87-7A8C-4D2A-BF9E-01340E0AF9E6}" type="pres">
      <dgm:prSet presAssocID="{AF89842E-47C0-47C0-857E-1B06F20DFB4A}" presName="parentLeftMargin" presStyleLbl="node1" presStyleIdx="0" presStyleCnt="3"/>
      <dgm:spPr/>
      <dgm:t>
        <a:bodyPr/>
        <a:lstStyle/>
        <a:p>
          <a:endParaRPr lang="hr-HR"/>
        </a:p>
      </dgm:t>
    </dgm:pt>
    <dgm:pt modelId="{51417B50-A463-4343-8223-0771F39CE2AE}" type="pres">
      <dgm:prSet presAssocID="{AF89842E-47C0-47C0-857E-1B06F20DFB4A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10AB80C4-612D-4B72-B936-377A63D12E9D}" type="pres">
      <dgm:prSet presAssocID="{AF89842E-47C0-47C0-857E-1B06F20DFB4A}" presName="negativeSpace" presStyleCnt="0"/>
      <dgm:spPr/>
    </dgm:pt>
    <dgm:pt modelId="{1B75CF02-A12C-4DDA-BDED-6A744A4003A9}" type="pres">
      <dgm:prSet presAssocID="{AF89842E-47C0-47C0-857E-1B06F20DFB4A}" presName="childText" presStyleLbl="conFgAcc1" presStyleIdx="1" presStyleCnt="3">
        <dgm:presLayoutVars>
          <dgm:bulletEnabled val="1"/>
        </dgm:presLayoutVars>
      </dgm:prSet>
      <dgm:spPr/>
    </dgm:pt>
    <dgm:pt modelId="{25B8C8A0-B812-4DB8-A02C-BABCE92A3F5B}" type="pres">
      <dgm:prSet presAssocID="{2B91505F-1E9B-4A5B-B431-3CE96F644495}" presName="spaceBetweenRectangles" presStyleCnt="0"/>
      <dgm:spPr/>
    </dgm:pt>
    <dgm:pt modelId="{CE5E9B5A-5C74-4FEC-8A17-4F1EAE1E370D}" type="pres">
      <dgm:prSet presAssocID="{C64C228C-2D62-48BC-83EE-5CB9B332A8A4}" presName="parentLin" presStyleCnt="0"/>
      <dgm:spPr/>
    </dgm:pt>
    <dgm:pt modelId="{7CDF9882-34E0-4F29-A9C3-6E14268BD876}" type="pres">
      <dgm:prSet presAssocID="{C64C228C-2D62-48BC-83EE-5CB9B332A8A4}" presName="parentLeftMargin" presStyleLbl="node1" presStyleIdx="1" presStyleCnt="3"/>
      <dgm:spPr/>
      <dgm:t>
        <a:bodyPr/>
        <a:lstStyle/>
        <a:p>
          <a:endParaRPr lang="hr-HR"/>
        </a:p>
      </dgm:t>
    </dgm:pt>
    <dgm:pt modelId="{94DC9474-F2A4-4477-9A76-09CC7398897D}" type="pres">
      <dgm:prSet presAssocID="{C64C228C-2D62-48BC-83EE-5CB9B332A8A4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41C4C6E1-19D5-42EC-B364-A1E4C828035E}" type="pres">
      <dgm:prSet presAssocID="{C64C228C-2D62-48BC-83EE-5CB9B332A8A4}" presName="negativeSpace" presStyleCnt="0"/>
      <dgm:spPr/>
    </dgm:pt>
    <dgm:pt modelId="{7DEA396A-3107-4EBF-9167-7C12EA9F56C0}" type="pres">
      <dgm:prSet presAssocID="{C64C228C-2D62-48BC-83EE-5CB9B332A8A4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</dgm:ptLst>
  <dgm:cxnLst>
    <dgm:cxn modelId="{E3A4730F-1012-4897-AA83-D4B1E5884F0C}" srcId="{C64C228C-2D62-48BC-83EE-5CB9B332A8A4}" destId="{75055391-C550-4BD1-B6FE-C538CC2542E1}" srcOrd="1" destOrd="0" parTransId="{2DF9454F-9B2D-4A65-815F-F0F6FB118330}" sibTransId="{EDBF2DAF-4F83-4D98-8AC9-83CC9FFCEFD1}"/>
    <dgm:cxn modelId="{81F8A720-C31D-47DB-B68F-261F8889462E}" srcId="{6973453E-C018-4ABF-BF1C-59D60FD1848A}" destId="{C64C228C-2D62-48BC-83EE-5CB9B332A8A4}" srcOrd="2" destOrd="0" parTransId="{DE22E279-104E-420A-A215-6181164DE23B}" sibTransId="{2A8B0CA9-583F-491A-A8C8-B90AD5276A15}"/>
    <dgm:cxn modelId="{CE3E9645-9655-4E55-BA7E-AFEE4D3B9DB5}" srcId="{C64C228C-2D62-48BC-83EE-5CB9B332A8A4}" destId="{E0CB091B-AB64-4901-92F2-9FEABF3BE65F}" srcOrd="2" destOrd="0" parTransId="{F0810770-1E6D-4F84-B89B-B982140B26FF}" sibTransId="{6CD2DF3E-BBBE-4D48-9531-8EF5B6D2AB01}"/>
    <dgm:cxn modelId="{9E1770C9-FDB8-41B8-BD20-5F132A6FD796}" srcId="{6973453E-C018-4ABF-BF1C-59D60FD1848A}" destId="{AF89842E-47C0-47C0-857E-1B06F20DFB4A}" srcOrd="1" destOrd="0" parTransId="{6A44C437-4DAA-4387-BD0B-5D7D25F73B74}" sibTransId="{2B91505F-1E9B-4A5B-B431-3CE96F644495}"/>
    <dgm:cxn modelId="{4DD1FFD6-5D7B-4B63-94F5-6E7EAF47303D}" type="presOf" srcId="{AF89842E-47C0-47C0-857E-1B06F20DFB4A}" destId="{51417B50-A463-4343-8223-0771F39CE2AE}" srcOrd="1" destOrd="0" presId="urn:microsoft.com/office/officeart/2005/8/layout/list1"/>
    <dgm:cxn modelId="{D41139FA-9428-4B34-A5B4-F3F698A5918B}" srcId="{C64C228C-2D62-48BC-83EE-5CB9B332A8A4}" destId="{F01F3DC3-5502-4E18-902D-7F875C47BFBC}" srcOrd="3" destOrd="0" parTransId="{128C09A1-973D-498D-95E0-A93180C11741}" sibTransId="{E170C9B1-5CE9-483F-93BD-AC93AD49E56E}"/>
    <dgm:cxn modelId="{DED03F3B-3580-4D12-8FFD-A8507C0D20B4}" type="presOf" srcId="{821192AE-5D77-4D15-B269-3417F15BDF25}" destId="{6C497797-E6DD-4C01-9CEF-838E4D4B5C7F}" srcOrd="1" destOrd="0" presId="urn:microsoft.com/office/officeart/2005/8/layout/list1"/>
    <dgm:cxn modelId="{F8DBD330-188B-4253-AF6F-B56CEF31A93C}" type="presOf" srcId="{6973453E-C018-4ABF-BF1C-59D60FD1848A}" destId="{A7ADDFB0-443B-4D27-9368-ED373AC86376}" srcOrd="0" destOrd="0" presId="urn:microsoft.com/office/officeart/2005/8/layout/list1"/>
    <dgm:cxn modelId="{A9D586BD-C60F-4A59-9BDC-1DF010A16CEE}" type="presOf" srcId="{AF89842E-47C0-47C0-857E-1B06F20DFB4A}" destId="{D081FA87-7A8C-4D2A-BF9E-01340E0AF9E6}" srcOrd="0" destOrd="0" presId="urn:microsoft.com/office/officeart/2005/8/layout/list1"/>
    <dgm:cxn modelId="{B3198D31-F45D-4DEB-9364-08DD56ADF9AA}" type="presOf" srcId="{73DA5791-997D-40A5-961E-3EF541AD32B2}" destId="{7DEA396A-3107-4EBF-9167-7C12EA9F56C0}" srcOrd="0" destOrd="0" presId="urn:microsoft.com/office/officeart/2005/8/layout/list1"/>
    <dgm:cxn modelId="{BB0DABB2-257B-42B9-98FB-9C262C254297}" srcId="{C64C228C-2D62-48BC-83EE-5CB9B332A8A4}" destId="{73DA5791-997D-40A5-961E-3EF541AD32B2}" srcOrd="0" destOrd="0" parTransId="{87B30E7D-4251-493B-B53B-AB25DEEFACBF}" sibTransId="{4E6CAF2B-8450-4C78-95F7-4CA5323F47D5}"/>
    <dgm:cxn modelId="{27D3DB41-9FA4-4DA8-B388-16D7172BDB7F}" type="presOf" srcId="{F01F3DC3-5502-4E18-902D-7F875C47BFBC}" destId="{7DEA396A-3107-4EBF-9167-7C12EA9F56C0}" srcOrd="0" destOrd="3" presId="urn:microsoft.com/office/officeart/2005/8/layout/list1"/>
    <dgm:cxn modelId="{3CA2AF58-EE83-4D49-B6A4-F35194411DB6}" type="presOf" srcId="{75055391-C550-4BD1-B6FE-C538CC2542E1}" destId="{7DEA396A-3107-4EBF-9167-7C12EA9F56C0}" srcOrd="0" destOrd="1" presId="urn:microsoft.com/office/officeart/2005/8/layout/list1"/>
    <dgm:cxn modelId="{76A6912F-42D6-4083-A30E-E6E2A88D4619}" srcId="{6973453E-C018-4ABF-BF1C-59D60FD1848A}" destId="{821192AE-5D77-4D15-B269-3417F15BDF25}" srcOrd="0" destOrd="0" parTransId="{24E9317D-EE6E-44BF-B054-45EEAE26034D}" sibTransId="{EC0D29D6-931D-49B2-9152-78171C53D50F}"/>
    <dgm:cxn modelId="{EBAB9570-9A5D-430A-83D4-E8A0502794E5}" type="presOf" srcId="{E0CB091B-AB64-4901-92F2-9FEABF3BE65F}" destId="{7DEA396A-3107-4EBF-9167-7C12EA9F56C0}" srcOrd="0" destOrd="2" presId="urn:microsoft.com/office/officeart/2005/8/layout/list1"/>
    <dgm:cxn modelId="{35FD1102-C29B-43DC-9B97-88180FE9FEE8}" type="presOf" srcId="{821192AE-5D77-4D15-B269-3417F15BDF25}" destId="{FB683D62-F9A5-44D9-BC71-B511AB8BF311}" srcOrd="0" destOrd="0" presId="urn:microsoft.com/office/officeart/2005/8/layout/list1"/>
    <dgm:cxn modelId="{C8C77E17-ADA7-41A0-8E93-64BB22671687}" type="presOf" srcId="{C64C228C-2D62-48BC-83EE-5CB9B332A8A4}" destId="{7CDF9882-34E0-4F29-A9C3-6E14268BD876}" srcOrd="0" destOrd="0" presId="urn:microsoft.com/office/officeart/2005/8/layout/list1"/>
    <dgm:cxn modelId="{C427B4B4-DBB3-41D1-85B2-347756CDA458}" type="presOf" srcId="{C64C228C-2D62-48BC-83EE-5CB9B332A8A4}" destId="{94DC9474-F2A4-4477-9A76-09CC7398897D}" srcOrd="1" destOrd="0" presId="urn:microsoft.com/office/officeart/2005/8/layout/list1"/>
    <dgm:cxn modelId="{D29D4D6E-70AA-458B-836E-1BEB10DA9324}" type="presParOf" srcId="{A7ADDFB0-443B-4D27-9368-ED373AC86376}" destId="{29872981-23FA-43C1-A4EC-D9198A284FFF}" srcOrd="0" destOrd="0" presId="urn:microsoft.com/office/officeart/2005/8/layout/list1"/>
    <dgm:cxn modelId="{2843C3A3-EF1A-4FA3-BA7D-60F24F14C5BE}" type="presParOf" srcId="{29872981-23FA-43C1-A4EC-D9198A284FFF}" destId="{FB683D62-F9A5-44D9-BC71-B511AB8BF311}" srcOrd="0" destOrd="0" presId="urn:microsoft.com/office/officeart/2005/8/layout/list1"/>
    <dgm:cxn modelId="{804D80BA-513B-4670-8B2A-93F17FF6C5DA}" type="presParOf" srcId="{29872981-23FA-43C1-A4EC-D9198A284FFF}" destId="{6C497797-E6DD-4C01-9CEF-838E4D4B5C7F}" srcOrd="1" destOrd="0" presId="urn:microsoft.com/office/officeart/2005/8/layout/list1"/>
    <dgm:cxn modelId="{D31B66C0-AC3A-4AA2-81A2-97BA00168EF1}" type="presParOf" srcId="{A7ADDFB0-443B-4D27-9368-ED373AC86376}" destId="{59A56038-A850-4BF0-9ED8-85BF7DFDC440}" srcOrd="1" destOrd="0" presId="urn:microsoft.com/office/officeart/2005/8/layout/list1"/>
    <dgm:cxn modelId="{B9639C98-DEAC-4246-A8C9-ED53B1967101}" type="presParOf" srcId="{A7ADDFB0-443B-4D27-9368-ED373AC86376}" destId="{AEFA66EF-2AA3-4984-9D3E-A9A0D98F60E5}" srcOrd="2" destOrd="0" presId="urn:microsoft.com/office/officeart/2005/8/layout/list1"/>
    <dgm:cxn modelId="{F0E6464C-0782-4CEE-B204-A352071661E7}" type="presParOf" srcId="{A7ADDFB0-443B-4D27-9368-ED373AC86376}" destId="{AC6A3BBA-234C-40BE-AE0F-9874ADA3C8C1}" srcOrd="3" destOrd="0" presId="urn:microsoft.com/office/officeart/2005/8/layout/list1"/>
    <dgm:cxn modelId="{52A14518-A652-43E2-8F19-D8D54DAD1457}" type="presParOf" srcId="{A7ADDFB0-443B-4D27-9368-ED373AC86376}" destId="{EEF7CE4E-7D0E-457A-97CE-C92F20BB65C2}" srcOrd="4" destOrd="0" presId="urn:microsoft.com/office/officeart/2005/8/layout/list1"/>
    <dgm:cxn modelId="{077D21A4-EE7F-413B-8E7F-833E3D2258CB}" type="presParOf" srcId="{EEF7CE4E-7D0E-457A-97CE-C92F20BB65C2}" destId="{D081FA87-7A8C-4D2A-BF9E-01340E0AF9E6}" srcOrd="0" destOrd="0" presId="urn:microsoft.com/office/officeart/2005/8/layout/list1"/>
    <dgm:cxn modelId="{6FC930C7-DCEA-4C95-B9BE-6B271B5AD00C}" type="presParOf" srcId="{EEF7CE4E-7D0E-457A-97CE-C92F20BB65C2}" destId="{51417B50-A463-4343-8223-0771F39CE2AE}" srcOrd="1" destOrd="0" presId="urn:microsoft.com/office/officeart/2005/8/layout/list1"/>
    <dgm:cxn modelId="{F177B0E1-BC71-4DE6-A2A6-7E3E4782FC05}" type="presParOf" srcId="{A7ADDFB0-443B-4D27-9368-ED373AC86376}" destId="{10AB80C4-612D-4B72-B936-377A63D12E9D}" srcOrd="5" destOrd="0" presId="urn:microsoft.com/office/officeart/2005/8/layout/list1"/>
    <dgm:cxn modelId="{8E418011-0317-4F87-9199-381207F36552}" type="presParOf" srcId="{A7ADDFB0-443B-4D27-9368-ED373AC86376}" destId="{1B75CF02-A12C-4DDA-BDED-6A744A4003A9}" srcOrd="6" destOrd="0" presId="urn:microsoft.com/office/officeart/2005/8/layout/list1"/>
    <dgm:cxn modelId="{5F2C93D1-994B-45DB-8555-176A1EEDD3ED}" type="presParOf" srcId="{A7ADDFB0-443B-4D27-9368-ED373AC86376}" destId="{25B8C8A0-B812-4DB8-A02C-BABCE92A3F5B}" srcOrd="7" destOrd="0" presId="urn:microsoft.com/office/officeart/2005/8/layout/list1"/>
    <dgm:cxn modelId="{D4BAF973-61B2-4F71-8A63-C6A29E439E1B}" type="presParOf" srcId="{A7ADDFB0-443B-4D27-9368-ED373AC86376}" destId="{CE5E9B5A-5C74-4FEC-8A17-4F1EAE1E370D}" srcOrd="8" destOrd="0" presId="urn:microsoft.com/office/officeart/2005/8/layout/list1"/>
    <dgm:cxn modelId="{78C12B2E-FA0D-4B49-9DCE-6E8E42E151A6}" type="presParOf" srcId="{CE5E9B5A-5C74-4FEC-8A17-4F1EAE1E370D}" destId="{7CDF9882-34E0-4F29-A9C3-6E14268BD876}" srcOrd="0" destOrd="0" presId="urn:microsoft.com/office/officeart/2005/8/layout/list1"/>
    <dgm:cxn modelId="{E1C5B0CD-BE13-492C-AB33-ED0C0440609E}" type="presParOf" srcId="{CE5E9B5A-5C74-4FEC-8A17-4F1EAE1E370D}" destId="{94DC9474-F2A4-4477-9A76-09CC7398897D}" srcOrd="1" destOrd="0" presId="urn:microsoft.com/office/officeart/2005/8/layout/list1"/>
    <dgm:cxn modelId="{3A3C9EEE-9757-4130-96F6-17F78F9D2AEA}" type="presParOf" srcId="{A7ADDFB0-443B-4D27-9368-ED373AC86376}" destId="{41C4C6E1-19D5-42EC-B364-A1E4C828035E}" srcOrd="9" destOrd="0" presId="urn:microsoft.com/office/officeart/2005/8/layout/list1"/>
    <dgm:cxn modelId="{2AD52EBD-D7FA-460F-8A8C-9321A3F152B1}" type="presParOf" srcId="{A7ADDFB0-443B-4D27-9368-ED373AC86376}" destId="{7DEA396A-3107-4EBF-9167-7C12EA9F56C0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800998D7-656E-41B9-BDF4-43741A8E4B9C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BE30F579-2CDA-4D40-999A-A458A5638EF1}">
      <dgm:prSet/>
      <dgm:spPr/>
      <dgm:t>
        <a:bodyPr/>
        <a:lstStyle/>
        <a:p>
          <a:pPr rtl="0"/>
          <a:r>
            <a:rPr lang="hr-HR" smtClean="0"/>
            <a:t>osiguranje naplate potraživanja </a:t>
          </a:r>
          <a:endParaRPr lang="hr-HR"/>
        </a:p>
      </dgm:t>
    </dgm:pt>
    <dgm:pt modelId="{4A7FB4F6-4FCB-487B-A254-30A2BD99EB9B}" type="parTrans" cxnId="{F0B42D48-C389-486C-AC95-0898DBF51F28}">
      <dgm:prSet/>
      <dgm:spPr/>
      <dgm:t>
        <a:bodyPr/>
        <a:lstStyle/>
        <a:p>
          <a:endParaRPr lang="hr-HR"/>
        </a:p>
      </dgm:t>
    </dgm:pt>
    <dgm:pt modelId="{53EA12B0-9CA3-42D3-8DE3-F7A30F30B4B8}" type="sibTrans" cxnId="{F0B42D48-C389-486C-AC95-0898DBF51F28}">
      <dgm:prSet/>
      <dgm:spPr/>
      <dgm:t>
        <a:bodyPr/>
        <a:lstStyle/>
        <a:p>
          <a:endParaRPr lang="hr-HR"/>
        </a:p>
      </dgm:t>
    </dgm:pt>
    <dgm:pt modelId="{B0BA701F-386D-4AA7-AF7D-B87459F538E4}">
      <dgm:prSet/>
      <dgm:spPr/>
      <dgm:t>
        <a:bodyPr/>
        <a:lstStyle/>
        <a:p>
          <a:pPr rtl="0"/>
          <a:r>
            <a:rPr lang="hr-HR" smtClean="0"/>
            <a:t>osiguranje kredita dobavljača </a:t>
          </a:r>
          <a:endParaRPr lang="hr-HR"/>
        </a:p>
      </dgm:t>
    </dgm:pt>
    <dgm:pt modelId="{FED1968F-CF68-469B-A64D-68A4DBA7F80A}" type="parTrans" cxnId="{2813E1C6-2B7E-4E29-8CF5-299797419F84}">
      <dgm:prSet/>
      <dgm:spPr/>
      <dgm:t>
        <a:bodyPr/>
        <a:lstStyle/>
        <a:p>
          <a:endParaRPr lang="hr-HR"/>
        </a:p>
      </dgm:t>
    </dgm:pt>
    <dgm:pt modelId="{29FDCE0D-BC0F-4AC5-96EB-47E1A7EC4C39}" type="sibTrans" cxnId="{2813E1C6-2B7E-4E29-8CF5-299797419F84}">
      <dgm:prSet/>
      <dgm:spPr/>
      <dgm:t>
        <a:bodyPr/>
        <a:lstStyle/>
        <a:p>
          <a:endParaRPr lang="hr-HR"/>
        </a:p>
      </dgm:t>
    </dgm:pt>
    <dgm:pt modelId="{6CEF9A4E-A861-477A-A480-243664AB41AB}">
      <dgm:prSet/>
      <dgm:spPr/>
      <dgm:t>
        <a:bodyPr/>
        <a:lstStyle/>
        <a:p>
          <a:pPr rtl="0"/>
          <a:r>
            <a:rPr lang="hr-HR" smtClean="0"/>
            <a:t>osiguranje kredita kupcu </a:t>
          </a:r>
          <a:endParaRPr lang="hr-HR"/>
        </a:p>
      </dgm:t>
    </dgm:pt>
    <dgm:pt modelId="{6E7359DA-3262-4B50-864E-3C094990E0A9}" type="parTrans" cxnId="{09B7BDD9-7F67-4C47-8C70-17C8614C5BD0}">
      <dgm:prSet/>
      <dgm:spPr/>
      <dgm:t>
        <a:bodyPr/>
        <a:lstStyle/>
        <a:p>
          <a:endParaRPr lang="hr-HR"/>
        </a:p>
      </dgm:t>
    </dgm:pt>
    <dgm:pt modelId="{87EDF0A9-B434-41DF-AE53-6B3DBA73180D}" type="sibTrans" cxnId="{09B7BDD9-7F67-4C47-8C70-17C8614C5BD0}">
      <dgm:prSet/>
      <dgm:spPr/>
      <dgm:t>
        <a:bodyPr/>
        <a:lstStyle/>
        <a:p>
          <a:endParaRPr lang="hr-HR"/>
        </a:p>
      </dgm:t>
    </dgm:pt>
    <dgm:pt modelId="{0E157EFC-D55D-421D-B041-2B3D654C41FE}">
      <dgm:prSet/>
      <dgm:spPr/>
      <dgm:t>
        <a:bodyPr/>
        <a:lstStyle/>
        <a:p>
          <a:pPr rtl="0"/>
          <a:r>
            <a:rPr lang="hr-HR" smtClean="0"/>
            <a:t>osiguranje šteta tijekom proizvodnje </a:t>
          </a:r>
          <a:endParaRPr lang="hr-HR"/>
        </a:p>
      </dgm:t>
    </dgm:pt>
    <dgm:pt modelId="{533BCA81-5640-4D0E-9972-FCA8062870F0}" type="parTrans" cxnId="{4A978DAE-A024-49F7-80CA-188E50DCB50D}">
      <dgm:prSet/>
      <dgm:spPr/>
      <dgm:t>
        <a:bodyPr/>
        <a:lstStyle/>
        <a:p>
          <a:endParaRPr lang="hr-HR"/>
        </a:p>
      </dgm:t>
    </dgm:pt>
    <dgm:pt modelId="{78836DBC-44C9-4A40-93C1-B35AEDCB215B}" type="sibTrans" cxnId="{4A978DAE-A024-49F7-80CA-188E50DCB50D}">
      <dgm:prSet/>
      <dgm:spPr/>
      <dgm:t>
        <a:bodyPr/>
        <a:lstStyle/>
        <a:p>
          <a:endParaRPr lang="hr-HR"/>
        </a:p>
      </dgm:t>
    </dgm:pt>
    <dgm:pt modelId="{F92CA11C-D73C-4E18-A797-3B2732A4EBB9}">
      <dgm:prSet/>
      <dgm:spPr/>
      <dgm:t>
        <a:bodyPr/>
        <a:lstStyle/>
        <a:p>
          <a:pPr rtl="0"/>
          <a:r>
            <a:rPr lang="hr-HR" smtClean="0"/>
            <a:t>osiguranje kredita za pripremu izvoza  </a:t>
          </a:r>
          <a:endParaRPr lang="hr-HR"/>
        </a:p>
      </dgm:t>
    </dgm:pt>
    <dgm:pt modelId="{1444C266-FC0F-448E-9F1E-E12A6F3C7EEE}" type="parTrans" cxnId="{E43A41BC-3E72-424C-98A0-7DBAAFEFA0F7}">
      <dgm:prSet/>
      <dgm:spPr/>
      <dgm:t>
        <a:bodyPr/>
        <a:lstStyle/>
        <a:p>
          <a:endParaRPr lang="hr-HR"/>
        </a:p>
      </dgm:t>
    </dgm:pt>
    <dgm:pt modelId="{045857B8-2EAE-4537-A4E8-348CA3ABAF24}" type="sibTrans" cxnId="{E43A41BC-3E72-424C-98A0-7DBAAFEFA0F7}">
      <dgm:prSet/>
      <dgm:spPr/>
      <dgm:t>
        <a:bodyPr/>
        <a:lstStyle/>
        <a:p>
          <a:endParaRPr lang="hr-HR"/>
        </a:p>
      </dgm:t>
    </dgm:pt>
    <dgm:pt modelId="{B3F28CBE-D46F-4D75-886D-44D38B8AA677}">
      <dgm:prSet/>
      <dgm:spPr/>
      <dgm:t>
        <a:bodyPr/>
        <a:lstStyle/>
        <a:p>
          <a:pPr rtl="0"/>
          <a:r>
            <a:rPr lang="hr-HR" dirty="0" smtClean="0"/>
            <a:t>osiguranje činidbenih bankarskih garancija</a:t>
          </a:r>
          <a:endParaRPr lang="hr-HR" dirty="0"/>
        </a:p>
      </dgm:t>
    </dgm:pt>
    <dgm:pt modelId="{E5CFEE71-4B47-4C4F-AA1E-6D73CB7479D9}" type="parTrans" cxnId="{DAEF4F55-A41F-4842-B1C8-7EA4E17D46E4}">
      <dgm:prSet/>
      <dgm:spPr/>
      <dgm:t>
        <a:bodyPr/>
        <a:lstStyle/>
        <a:p>
          <a:endParaRPr lang="hr-HR"/>
        </a:p>
      </dgm:t>
    </dgm:pt>
    <dgm:pt modelId="{0670C458-05CA-4409-B96F-D5F8A33EE45C}" type="sibTrans" cxnId="{DAEF4F55-A41F-4842-B1C8-7EA4E17D46E4}">
      <dgm:prSet/>
      <dgm:spPr/>
      <dgm:t>
        <a:bodyPr/>
        <a:lstStyle/>
        <a:p>
          <a:endParaRPr lang="hr-HR"/>
        </a:p>
      </dgm:t>
    </dgm:pt>
    <dgm:pt modelId="{FA2ED155-6DE5-463A-8DF1-F0E2409E35AE}" type="pres">
      <dgm:prSet presAssocID="{800998D7-656E-41B9-BDF4-43741A8E4B9C}" presName="CompostProcess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hr-HR"/>
        </a:p>
      </dgm:t>
    </dgm:pt>
    <dgm:pt modelId="{9783CFB7-B094-4B3D-8996-459D5C5ACA0B}" type="pres">
      <dgm:prSet presAssocID="{800998D7-656E-41B9-BDF4-43741A8E4B9C}" presName="arrow" presStyleLbl="bgShp" presStyleIdx="0" presStyleCnt="1" custLinFactNeighborX="1558" custLinFactNeighborY="29363"/>
      <dgm:spPr/>
    </dgm:pt>
    <dgm:pt modelId="{98C5BD75-059D-43B3-8365-FCDFACC77208}" type="pres">
      <dgm:prSet presAssocID="{800998D7-656E-41B9-BDF4-43741A8E4B9C}" presName="linearProcess" presStyleCnt="0"/>
      <dgm:spPr/>
    </dgm:pt>
    <dgm:pt modelId="{5F319AE7-DB3C-411E-874D-A8D473FD5EA3}" type="pres">
      <dgm:prSet presAssocID="{BE30F579-2CDA-4D40-999A-A458A5638EF1}" presName="text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A728DCEC-F823-4E4B-A4B9-E5414B379EC8}" type="pres">
      <dgm:prSet presAssocID="{53EA12B0-9CA3-42D3-8DE3-F7A30F30B4B8}" presName="sibTrans" presStyleCnt="0"/>
      <dgm:spPr/>
    </dgm:pt>
    <dgm:pt modelId="{D430A249-47FE-4CF6-B1C9-812CF5D2D8D0}" type="pres">
      <dgm:prSet presAssocID="{B0BA701F-386D-4AA7-AF7D-B87459F538E4}" presName="text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1D4496A2-122A-44D9-AA92-3A5CD236C733}" type="pres">
      <dgm:prSet presAssocID="{29FDCE0D-BC0F-4AC5-96EB-47E1A7EC4C39}" presName="sibTrans" presStyleCnt="0"/>
      <dgm:spPr/>
    </dgm:pt>
    <dgm:pt modelId="{485B53C7-733B-4C10-A556-D763F17DB8C2}" type="pres">
      <dgm:prSet presAssocID="{6CEF9A4E-A861-477A-A480-243664AB41AB}" presName="text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3324FC95-7ADE-43E1-945F-5EC135AC8E3A}" type="pres">
      <dgm:prSet presAssocID="{87EDF0A9-B434-41DF-AE53-6B3DBA73180D}" presName="sibTrans" presStyleCnt="0"/>
      <dgm:spPr/>
    </dgm:pt>
    <dgm:pt modelId="{3B7154FF-A18C-43B3-97ED-A494F1C53C60}" type="pres">
      <dgm:prSet presAssocID="{0E157EFC-D55D-421D-B041-2B3D654C41FE}" presName="text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061AEE87-9861-4428-92C5-58D59F13226B}" type="pres">
      <dgm:prSet presAssocID="{78836DBC-44C9-4A40-93C1-B35AEDCB215B}" presName="sibTrans" presStyleCnt="0"/>
      <dgm:spPr/>
    </dgm:pt>
    <dgm:pt modelId="{C13F50AF-4622-4F33-BEDD-9B3E7DF7B00D}" type="pres">
      <dgm:prSet presAssocID="{F92CA11C-D73C-4E18-A797-3B2732A4EBB9}" presName="text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5B29BE3B-BAA1-4DC8-B6FE-F54328805A06}" type="pres">
      <dgm:prSet presAssocID="{045857B8-2EAE-4537-A4E8-348CA3ABAF24}" presName="sibTrans" presStyleCnt="0"/>
      <dgm:spPr/>
    </dgm:pt>
    <dgm:pt modelId="{C3A1AC07-88D0-48A8-8CAD-A500698E60F8}" type="pres">
      <dgm:prSet presAssocID="{B3F28CBE-D46F-4D75-886D-44D38B8AA677}" presName="text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</dgm:ptLst>
  <dgm:cxnLst>
    <dgm:cxn modelId="{3D90684F-70B4-4A7A-9884-07E99C358AA4}" type="presOf" srcId="{B3F28CBE-D46F-4D75-886D-44D38B8AA677}" destId="{C3A1AC07-88D0-48A8-8CAD-A500698E60F8}" srcOrd="0" destOrd="0" presId="urn:microsoft.com/office/officeart/2005/8/layout/hProcess9"/>
    <dgm:cxn modelId="{EA641794-8A85-4654-8088-08D0993003E4}" type="presOf" srcId="{6CEF9A4E-A861-477A-A480-243664AB41AB}" destId="{485B53C7-733B-4C10-A556-D763F17DB8C2}" srcOrd="0" destOrd="0" presId="urn:microsoft.com/office/officeart/2005/8/layout/hProcess9"/>
    <dgm:cxn modelId="{59D92943-8F69-43EE-9851-F562AFB2DBB0}" type="presOf" srcId="{F92CA11C-D73C-4E18-A797-3B2732A4EBB9}" destId="{C13F50AF-4622-4F33-BEDD-9B3E7DF7B00D}" srcOrd="0" destOrd="0" presId="urn:microsoft.com/office/officeart/2005/8/layout/hProcess9"/>
    <dgm:cxn modelId="{E43A41BC-3E72-424C-98A0-7DBAAFEFA0F7}" srcId="{800998D7-656E-41B9-BDF4-43741A8E4B9C}" destId="{F92CA11C-D73C-4E18-A797-3B2732A4EBB9}" srcOrd="4" destOrd="0" parTransId="{1444C266-FC0F-448E-9F1E-E12A6F3C7EEE}" sibTransId="{045857B8-2EAE-4537-A4E8-348CA3ABAF24}"/>
    <dgm:cxn modelId="{1FB281C7-1B52-4C45-9F77-1590BC333B37}" type="presOf" srcId="{B0BA701F-386D-4AA7-AF7D-B87459F538E4}" destId="{D430A249-47FE-4CF6-B1C9-812CF5D2D8D0}" srcOrd="0" destOrd="0" presId="urn:microsoft.com/office/officeart/2005/8/layout/hProcess9"/>
    <dgm:cxn modelId="{2813E1C6-2B7E-4E29-8CF5-299797419F84}" srcId="{800998D7-656E-41B9-BDF4-43741A8E4B9C}" destId="{B0BA701F-386D-4AA7-AF7D-B87459F538E4}" srcOrd="1" destOrd="0" parTransId="{FED1968F-CF68-469B-A64D-68A4DBA7F80A}" sibTransId="{29FDCE0D-BC0F-4AC5-96EB-47E1A7EC4C39}"/>
    <dgm:cxn modelId="{09B7BDD9-7F67-4C47-8C70-17C8614C5BD0}" srcId="{800998D7-656E-41B9-BDF4-43741A8E4B9C}" destId="{6CEF9A4E-A861-477A-A480-243664AB41AB}" srcOrd="2" destOrd="0" parTransId="{6E7359DA-3262-4B50-864E-3C094990E0A9}" sibTransId="{87EDF0A9-B434-41DF-AE53-6B3DBA73180D}"/>
    <dgm:cxn modelId="{F0B42D48-C389-486C-AC95-0898DBF51F28}" srcId="{800998D7-656E-41B9-BDF4-43741A8E4B9C}" destId="{BE30F579-2CDA-4D40-999A-A458A5638EF1}" srcOrd="0" destOrd="0" parTransId="{4A7FB4F6-4FCB-487B-A254-30A2BD99EB9B}" sibTransId="{53EA12B0-9CA3-42D3-8DE3-F7A30F30B4B8}"/>
    <dgm:cxn modelId="{9B3D0357-D03A-4DDF-9334-EC839AB500FB}" type="presOf" srcId="{800998D7-656E-41B9-BDF4-43741A8E4B9C}" destId="{FA2ED155-6DE5-463A-8DF1-F0E2409E35AE}" srcOrd="0" destOrd="0" presId="urn:microsoft.com/office/officeart/2005/8/layout/hProcess9"/>
    <dgm:cxn modelId="{A016DE78-9084-4532-BCE0-7D8F254A1E82}" type="presOf" srcId="{0E157EFC-D55D-421D-B041-2B3D654C41FE}" destId="{3B7154FF-A18C-43B3-97ED-A494F1C53C60}" srcOrd="0" destOrd="0" presId="urn:microsoft.com/office/officeart/2005/8/layout/hProcess9"/>
    <dgm:cxn modelId="{4A978DAE-A024-49F7-80CA-188E50DCB50D}" srcId="{800998D7-656E-41B9-BDF4-43741A8E4B9C}" destId="{0E157EFC-D55D-421D-B041-2B3D654C41FE}" srcOrd="3" destOrd="0" parTransId="{533BCA81-5640-4D0E-9972-FCA8062870F0}" sibTransId="{78836DBC-44C9-4A40-93C1-B35AEDCB215B}"/>
    <dgm:cxn modelId="{A32F89E4-2EA7-4C44-A2E6-7BEFCA6624E1}" type="presOf" srcId="{BE30F579-2CDA-4D40-999A-A458A5638EF1}" destId="{5F319AE7-DB3C-411E-874D-A8D473FD5EA3}" srcOrd="0" destOrd="0" presId="urn:microsoft.com/office/officeart/2005/8/layout/hProcess9"/>
    <dgm:cxn modelId="{DAEF4F55-A41F-4842-B1C8-7EA4E17D46E4}" srcId="{800998D7-656E-41B9-BDF4-43741A8E4B9C}" destId="{B3F28CBE-D46F-4D75-886D-44D38B8AA677}" srcOrd="5" destOrd="0" parTransId="{E5CFEE71-4B47-4C4F-AA1E-6D73CB7479D9}" sibTransId="{0670C458-05CA-4409-B96F-D5F8A33EE45C}"/>
    <dgm:cxn modelId="{C6F7AD0F-D5B5-4C35-80D3-B832AD110B7D}" type="presParOf" srcId="{FA2ED155-6DE5-463A-8DF1-F0E2409E35AE}" destId="{9783CFB7-B094-4B3D-8996-459D5C5ACA0B}" srcOrd="0" destOrd="0" presId="urn:microsoft.com/office/officeart/2005/8/layout/hProcess9"/>
    <dgm:cxn modelId="{99C34E2F-59E7-4740-B6CB-A98E4C0BF558}" type="presParOf" srcId="{FA2ED155-6DE5-463A-8DF1-F0E2409E35AE}" destId="{98C5BD75-059D-43B3-8365-FCDFACC77208}" srcOrd="1" destOrd="0" presId="urn:microsoft.com/office/officeart/2005/8/layout/hProcess9"/>
    <dgm:cxn modelId="{B9ADA7B7-875D-4BC3-A0FC-391CD24224A8}" type="presParOf" srcId="{98C5BD75-059D-43B3-8365-FCDFACC77208}" destId="{5F319AE7-DB3C-411E-874D-A8D473FD5EA3}" srcOrd="0" destOrd="0" presId="urn:microsoft.com/office/officeart/2005/8/layout/hProcess9"/>
    <dgm:cxn modelId="{DFEADE9D-67A1-4124-9168-623EA623732F}" type="presParOf" srcId="{98C5BD75-059D-43B3-8365-FCDFACC77208}" destId="{A728DCEC-F823-4E4B-A4B9-E5414B379EC8}" srcOrd="1" destOrd="0" presId="urn:microsoft.com/office/officeart/2005/8/layout/hProcess9"/>
    <dgm:cxn modelId="{FA0717AE-8FF8-4C17-AC3C-01BA7CF9D9A0}" type="presParOf" srcId="{98C5BD75-059D-43B3-8365-FCDFACC77208}" destId="{D430A249-47FE-4CF6-B1C9-812CF5D2D8D0}" srcOrd="2" destOrd="0" presId="urn:microsoft.com/office/officeart/2005/8/layout/hProcess9"/>
    <dgm:cxn modelId="{71205F6E-3F94-41AD-BBE9-C5D1DEA6825A}" type="presParOf" srcId="{98C5BD75-059D-43B3-8365-FCDFACC77208}" destId="{1D4496A2-122A-44D9-AA92-3A5CD236C733}" srcOrd="3" destOrd="0" presId="urn:microsoft.com/office/officeart/2005/8/layout/hProcess9"/>
    <dgm:cxn modelId="{F42FD89E-97AD-4FCB-8275-E38052DDB954}" type="presParOf" srcId="{98C5BD75-059D-43B3-8365-FCDFACC77208}" destId="{485B53C7-733B-4C10-A556-D763F17DB8C2}" srcOrd="4" destOrd="0" presId="urn:microsoft.com/office/officeart/2005/8/layout/hProcess9"/>
    <dgm:cxn modelId="{181D0BF6-1865-49D9-B4A5-D5D5741B2A8F}" type="presParOf" srcId="{98C5BD75-059D-43B3-8365-FCDFACC77208}" destId="{3324FC95-7ADE-43E1-945F-5EC135AC8E3A}" srcOrd="5" destOrd="0" presId="urn:microsoft.com/office/officeart/2005/8/layout/hProcess9"/>
    <dgm:cxn modelId="{70F2DC7E-B8EF-44F1-AA87-7D9E1263CAA4}" type="presParOf" srcId="{98C5BD75-059D-43B3-8365-FCDFACC77208}" destId="{3B7154FF-A18C-43B3-97ED-A494F1C53C60}" srcOrd="6" destOrd="0" presId="urn:microsoft.com/office/officeart/2005/8/layout/hProcess9"/>
    <dgm:cxn modelId="{76A71443-3351-4037-B57C-D5A8AFC7ACAD}" type="presParOf" srcId="{98C5BD75-059D-43B3-8365-FCDFACC77208}" destId="{061AEE87-9861-4428-92C5-58D59F13226B}" srcOrd="7" destOrd="0" presId="urn:microsoft.com/office/officeart/2005/8/layout/hProcess9"/>
    <dgm:cxn modelId="{9DDB3EA6-AA1A-4E5D-B79F-2CBAE4889B48}" type="presParOf" srcId="{98C5BD75-059D-43B3-8365-FCDFACC77208}" destId="{C13F50AF-4622-4F33-BEDD-9B3E7DF7B00D}" srcOrd="8" destOrd="0" presId="urn:microsoft.com/office/officeart/2005/8/layout/hProcess9"/>
    <dgm:cxn modelId="{E3C19260-CB6B-42A8-8F76-A8146EFC0218}" type="presParOf" srcId="{98C5BD75-059D-43B3-8365-FCDFACC77208}" destId="{5B29BE3B-BAA1-4DC8-B6FE-F54328805A06}" srcOrd="9" destOrd="0" presId="urn:microsoft.com/office/officeart/2005/8/layout/hProcess9"/>
    <dgm:cxn modelId="{333B2C77-90E5-491F-A36F-B0BDC8EAF49B}" type="presParOf" srcId="{98C5BD75-059D-43B3-8365-FCDFACC77208}" destId="{C3A1AC07-88D0-48A8-8CAD-A500698E60F8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D6891A84-E894-4F44-B657-B4AF8ECCB42B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hr-HR"/>
        </a:p>
      </dgm:t>
    </dgm:pt>
    <dgm:pt modelId="{20D51D98-4BB8-455E-BAF7-BD9AFA0BB840}">
      <dgm:prSet custT="1"/>
      <dgm:spPr/>
      <dgm:t>
        <a:bodyPr/>
        <a:lstStyle/>
        <a:p>
          <a:pPr rtl="0"/>
          <a:r>
            <a:rPr lang="hr-HR" sz="1600" dirty="0" smtClean="0"/>
            <a:t>Investicijski krediti za MSP u fazi rasta i razvoja</a:t>
          </a:r>
          <a:endParaRPr lang="hr-HR" sz="1600" dirty="0"/>
        </a:p>
      </dgm:t>
    </dgm:pt>
    <dgm:pt modelId="{8FCFF321-F8F7-483B-91DB-7C8954CE5244}" type="parTrans" cxnId="{D92A3295-DBD5-4278-9BD6-2DB116E5B343}">
      <dgm:prSet/>
      <dgm:spPr/>
      <dgm:t>
        <a:bodyPr/>
        <a:lstStyle/>
        <a:p>
          <a:endParaRPr lang="hr-HR" sz="1600"/>
        </a:p>
      </dgm:t>
    </dgm:pt>
    <dgm:pt modelId="{D83A3064-56CD-460F-904F-4B36AED7EA62}" type="sibTrans" cxnId="{D92A3295-DBD5-4278-9BD6-2DB116E5B343}">
      <dgm:prSet/>
      <dgm:spPr/>
      <dgm:t>
        <a:bodyPr/>
        <a:lstStyle/>
        <a:p>
          <a:endParaRPr lang="hr-HR" sz="1600"/>
        </a:p>
      </dgm:t>
    </dgm:pt>
    <dgm:pt modelId="{DE227E75-A0A7-469D-9050-57F0ED1A6938}">
      <dgm:prSet custT="1"/>
      <dgm:spPr/>
      <dgm:t>
        <a:bodyPr/>
        <a:lstStyle/>
        <a:p>
          <a:pPr rtl="0"/>
          <a:r>
            <a:rPr lang="hr-HR" sz="1600" smtClean="0"/>
            <a:t>Kamatna stopa na ESIF udio u financiranju 0%</a:t>
          </a:r>
          <a:endParaRPr lang="hr-HR" sz="1600"/>
        </a:p>
      </dgm:t>
    </dgm:pt>
    <dgm:pt modelId="{FABCD149-A309-4D6F-A025-DF5868B1BAE1}" type="parTrans" cxnId="{8040BA5D-57C5-4439-9EA5-5D1218A816BD}">
      <dgm:prSet/>
      <dgm:spPr/>
      <dgm:t>
        <a:bodyPr/>
        <a:lstStyle/>
        <a:p>
          <a:endParaRPr lang="hr-HR" sz="1600"/>
        </a:p>
      </dgm:t>
    </dgm:pt>
    <dgm:pt modelId="{B8596946-8DFF-43E2-9F0F-D116C5AFB5E8}" type="sibTrans" cxnId="{8040BA5D-57C5-4439-9EA5-5D1218A816BD}">
      <dgm:prSet/>
      <dgm:spPr/>
      <dgm:t>
        <a:bodyPr/>
        <a:lstStyle/>
        <a:p>
          <a:endParaRPr lang="hr-HR" sz="1600"/>
        </a:p>
      </dgm:t>
    </dgm:pt>
    <dgm:pt modelId="{AB6176AC-BDB0-484F-BC56-63A5FE9C6AF7}">
      <dgm:prSet custT="1"/>
      <dgm:spPr/>
      <dgm:t>
        <a:bodyPr/>
        <a:lstStyle/>
        <a:p>
          <a:pPr rtl="0"/>
          <a:r>
            <a:rPr lang="hr-HR" sz="1600" smtClean="0"/>
            <a:t>Rokovi otplate do 12 godina (17 godina u sektoru turizma)</a:t>
          </a:r>
          <a:endParaRPr lang="hr-HR" sz="1600"/>
        </a:p>
      </dgm:t>
    </dgm:pt>
    <dgm:pt modelId="{BADB4B2C-BAC5-4CFA-9B50-F1A58EA8E37B}" type="parTrans" cxnId="{A5F772CD-28EC-4202-8D58-DB2BBE6D97DF}">
      <dgm:prSet/>
      <dgm:spPr/>
      <dgm:t>
        <a:bodyPr/>
        <a:lstStyle/>
        <a:p>
          <a:endParaRPr lang="hr-HR" sz="1600"/>
        </a:p>
      </dgm:t>
    </dgm:pt>
    <dgm:pt modelId="{9E924DFC-C16A-428A-BD3E-D95CBF0D0687}" type="sibTrans" cxnId="{A5F772CD-28EC-4202-8D58-DB2BBE6D97DF}">
      <dgm:prSet/>
      <dgm:spPr/>
      <dgm:t>
        <a:bodyPr/>
        <a:lstStyle/>
        <a:p>
          <a:endParaRPr lang="hr-HR" sz="1600"/>
        </a:p>
      </dgm:t>
    </dgm:pt>
    <dgm:pt modelId="{14968DD2-04CF-491B-8A07-E1045AF17CB5}">
      <dgm:prSet custT="1"/>
      <dgm:spPr/>
      <dgm:t>
        <a:bodyPr/>
        <a:lstStyle/>
        <a:p>
          <a:pPr rtl="0"/>
          <a:r>
            <a:rPr lang="hr-HR" sz="1600" smtClean="0"/>
            <a:t>Iznos kredita od 100.000 EUR do 3mil EUR (10 mil EUR za sektor turizma)</a:t>
          </a:r>
          <a:endParaRPr lang="hr-HR" sz="1600"/>
        </a:p>
      </dgm:t>
    </dgm:pt>
    <dgm:pt modelId="{77FC674D-3EC6-4F36-81C3-3004C88EB7C7}" type="parTrans" cxnId="{2DF10016-FBBD-4A99-AC28-6696E57922D6}">
      <dgm:prSet/>
      <dgm:spPr/>
      <dgm:t>
        <a:bodyPr/>
        <a:lstStyle/>
        <a:p>
          <a:endParaRPr lang="hr-HR" sz="1600"/>
        </a:p>
      </dgm:t>
    </dgm:pt>
    <dgm:pt modelId="{CA902A52-787D-4215-8C5B-81D22222EDEA}" type="sibTrans" cxnId="{2DF10016-FBBD-4A99-AC28-6696E57922D6}">
      <dgm:prSet/>
      <dgm:spPr/>
      <dgm:t>
        <a:bodyPr/>
        <a:lstStyle/>
        <a:p>
          <a:endParaRPr lang="hr-HR" sz="1600"/>
        </a:p>
      </dgm:t>
    </dgm:pt>
    <dgm:pt modelId="{D544D693-1000-484D-93F2-561069B0FFA8}" type="pres">
      <dgm:prSet presAssocID="{D6891A84-E894-4F44-B657-B4AF8ECCB42B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hr-HR"/>
        </a:p>
      </dgm:t>
    </dgm:pt>
    <dgm:pt modelId="{824D97FB-9B76-40E8-8C47-8636874CD520}" type="pres">
      <dgm:prSet presAssocID="{D6891A84-E894-4F44-B657-B4AF8ECCB42B}" presName="diamond" presStyleLbl="bgShp" presStyleIdx="0" presStyleCnt="1" custLinFactNeighborX="-552" custLinFactNeighborY="12492"/>
      <dgm:spPr/>
    </dgm:pt>
    <dgm:pt modelId="{E39B5897-14B1-4996-B0A1-CA5228BA8A1C}" type="pres">
      <dgm:prSet presAssocID="{D6891A84-E894-4F44-B657-B4AF8ECCB42B}" presName="quad1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AE654CFA-AC3B-4DB1-BC71-104536EE6399}" type="pres">
      <dgm:prSet presAssocID="{D6891A84-E894-4F44-B657-B4AF8ECCB42B}" presName="quad2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343430A0-8A86-49F0-A679-F206867B567B}" type="pres">
      <dgm:prSet presAssocID="{D6891A84-E894-4F44-B657-B4AF8ECCB42B}" presName="quad3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8D0F74BB-6947-4BCF-9E4C-5278E39986E9}" type="pres">
      <dgm:prSet presAssocID="{D6891A84-E894-4F44-B657-B4AF8ECCB42B}" presName="quad4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r-HR"/>
        </a:p>
      </dgm:t>
    </dgm:pt>
  </dgm:ptLst>
  <dgm:cxnLst>
    <dgm:cxn modelId="{63ED3AF4-25D1-493A-B6EC-C7620A5C0FAF}" type="presOf" srcId="{D6891A84-E894-4F44-B657-B4AF8ECCB42B}" destId="{D544D693-1000-484D-93F2-561069B0FFA8}" srcOrd="0" destOrd="0" presId="urn:microsoft.com/office/officeart/2005/8/layout/matrix3"/>
    <dgm:cxn modelId="{A5F772CD-28EC-4202-8D58-DB2BBE6D97DF}" srcId="{D6891A84-E894-4F44-B657-B4AF8ECCB42B}" destId="{AB6176AC-BDB0-484F-BC56-63A5FE9C6AF7}" srcOrd="2" destOrd="0" parTransId="{BADB4B2C-BAC5-4CFA-9B50-F1A58EA8E37B}" sibTransId="{9E924DFC-C16A-428A-BD3E-D95CBF0D0687}"/>
    <dgm:cxn modelId="{D92A3295-DBD5-4278-9BD6-2DB116E5B343}" srcId="{D6891A84-E894-4F44-B657-B4AF8ECCB42B}" destId="{20D51D98-4BB8-455E-BAF7-BD9AFA0BB840}" srcOrd="0" destOrd="0" parTransId="{8FCFF321-F8F7-483B-91DB-7C8954CE5244}" sibTransId="{D83A3064-56CD-460F-904F-4B36AED7EA62}"/>
    <dgm:cxn modelId="{2DF10016-FBBD-4A99-AC28-6696E57922D6}" srcId="{D6891A84-E894-4F44-B657-B4AF8ECCB42B}" destId="{14968DD2-04CF-491B-8A07-E1045AF17CB5}" srcOrd="3" destOrd="0" parTransId="{77FC674D-3EC6-4F36-81C3-3004C88EB7C7}" sibTransId="{CA902A52-787D-4215-8C5B-81D22222EDEA}"/>
    <dgm:cxn modelId="{8040BA5D-57C5-4439-9EA5-5D1218A816BD}" srcId="{D6891A84-E894-4F44-B657-B4AF8ECCB42B}" destId="{DE227E75-A0A7-469D-9050-57F0ED1A6938}" srcOrd="1" destOrd="0" parTransId="{FABCD149-A309-4D6F-A025-DF5868B1BAE1}" sibTransId="{B8596946-8DFF-43E2-9F0F-D116C5AFB5E8}"/>
    <dgm:cxn modelId="{5252AF49-4C31-4D46-8F42-0A60927A4439}" type="presOf" srcId="{AB6176AC-BDB0-484F-BC56-63A5FE9C6AF7}" destId="{343430A0-8A86-49F0-A679-F206867B567B}" srcOrd="0" destOrd="0" presId="urn:microsoft.com/office/officeart/2005/8/layout/matrix3"/>
    <dgm:cxn modelId="{8E337B00-DDAB-44C7-9926-F367C2400EA3}" type="presOf" srcId="{DE227E75-A0A7-469D-9050-57F0ED1A6938}" destId="{AE654CFA-AC3B-4DB1-BC71-104536EE6399}" srcOrd="0" destOrd="0" presId="urn:microsoft.com/office/officeart/2005/8/layout/matrix3"/>
    <dgm:cxn modelId="{A8B3559A-CC64-4C7A-8337-C71ED4DD8B8F}" type="presOf" srcId="{14968DD2-04CF-491B-8A07-E1045AF17CB5}" destId="{8D0F74BB-6947-4BCF-9E4C-5278E39986E9}" srcOrd="0" destOrd="0" presId="urn:microsoft.com/office/officeart/2005/8/layout/matrix3"/>
    <dgm:cxn modelId="{8BABEBEB-B5FF-437C-9352-7ED9C0E7015E}" type="presOf" srcId="{20D51D98-4BB8-455E-BAF7-BD9AFA0BB840}" destId="{E39B5897-14B1-4996-B0A1-CA5228BA8A1C}" srcOrd="0" destOrd="0" presId="urn:microsoft.com/office/officeart/2005/8/layout/matrix3"/>
    <dgm:cxn modelId="{8E6A68F2-2B90-4E64-92E7-F10EB47964E5}" type="presParOf" srcId="{D544D693-1000-484D-93F2-561069B0FFA8}" destId="{824D97FB-9B76-40E8-8C47-8636874CD520}" srcOrd="0" destOrd="0" presId="urn:microsoft.com/office/officeart/2005/8/layout/matrix3"/>
    <dgm:cxn modelId="{7E4C99A3-44AA-46B9-A1D1-D92E6494A260}" type="presParOf" srcId="{D544D693-1000-484D-93F2-561069B0FFA8}" destId="{E39B5897-14B1-4996-B0A1-CA5228BA8A1C}" srcOrd="1" destOrd="0" presId="urn:microsoft.com/office/officeart/2005/8/layout/matrix3"/>
    <dgm:cxn modelId="{860B9907-8A3C-4E93-8321-B32C50F91687}" type="presParOf" srcId="{D544D693-1000-484D-93F2-561069B0FFA8}" destId="{AE654CFA-AC3B-4DB1-BC71-104536EE6399}" srcOrd="2" destOrd="0" presId="urn:microsoft.com/office/officeart/2005/8/layout/matrix3"/>
    <dgm:cxn modelId="{76B433AD-B403-427F-B032-E6ED588CA309}" type="presParOf" srcId="{D544D693-1000-484D-93F2-561069B0FFA8}" destId="{343430A0-8A86-49F0-A679-F206867B567B}" srcOrd="3" destOrd="0" presId="urn:microsoft.com/office/officeart/2005/8/layout/matrix3"/>
    <dgm:cxn modelId="{492E8DFF-9FD6-4D89-85E9-642ECE826A11}" type="presParOf" srcId="{D544D693-1000-484D-93F2-561069B0FFA8}" destId="{8D0F74BB-6947-4BCF-9E4C-5278E39986E9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2AEC6EC-BC27-46AF-9E16-BBD6D1838765}" type="doc">
      <dgm:prSet loTypeId="urn:diagrams.loki3.com/Bracke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7D2B78F0-3BAF-4970-A2BA-AEEFF10CFE7B}">
      <dgm:prSet custT="1"/>
      <dgm:spPr/>
      <dgm:t>
        <a:bodyPr/>
        <a:lstStyle/>
        <a:p>
          <a:pPr rtl="0"/>
          <a:r>
            <a:rPr lang="en-GB" sz="1500" smtClean="0"/>
            <a:t>Privredna banka Zagreb d.d.</a:t>
          </a:r>
          <a:endParaRPr lang="hr-HR" sz="1500"/>
        </a:p>
      </dgm:t>
    </dgm:pt>
    <dgm:pt modelId="{D34B37B7-FB2B-4852-8C0A-D9CBBBC842D7}" type="parTrans" cxnId="{0D22AB71-C960-4161-B24A-A6CBED35F44B}">
      <dgm:prSet/>
      <dgm:spPr/>
      <dgm:t>
        <a:bodyPr/>
        <a:lstStyle/>
        <a:p>
          <a:endParaRPr lang="hr-HR" sz="1500"/>
        </a:p>
      </dgm:t>
    </dgm:pt>
    <dgm:pt modelId="{E1D5AB10-4B65-49A8-A8B8-F5885187AA1B}" type="sibTrans" cxnId="{0D22AB71-C960-4161-B24A-A6CBED35F44B}">
      <dgm:prSet/>
      <dgm:spPr/>
      <dgm:t>
        <a:bodyPr/>
        <a:lstStyle/>
        <a:p>
          <a:endParaRPr lang="hr-HR" sz="1500"/>
        </a:p>
      </dgm:t>
    </dgm:pt>
    <dgm:pt modelId="{9D58BF90-C8A8-476E-8568-72BBF13E3728}">
      <dgm:prSet custT="1"/>
      <dgm:spPr/>
      <dgm:t>
        <a:bodyPr/>
        <a:lstStyle/>
        <a:p>
          <a:pPr rtl="0"/>
          <a:r>
            <a:rPr lang="hr-HR" sz="1500" dirty="0" smtClean="0"/>
            <a:t>Erste &amp; </a:t>
          </a:r>
          <a:r>
            <a:rPr lang="hr-HR" sz="1500" dirty="0" err="1" smtClean="0"/>
            <a:t>Steiermärkische</a:t>
          </a:r>
          <a:r>
            <a:rPr lang="hr-HR" sz="1500" dirty="0" smtClean="0"/>
            <a:t> Bank d.d.  </a:t>
          </a:r>
          <a:endParaRPr lang="hr-HR" sz="1500" dirty="0"/>
        </a:p>
      </dgm:t>
    </dgm:pt>
    <dgm:pt modelId="{7EBA3E40-85ED-4A1F-97E5-021FA0BAA8F3}" type="parTrans" cxnId="{E53A55E9-FD1C-4261-8BDC-A20919761720}">
      <dgm:prSet/>
      <dgm:spPr/>
      <dgm:t>
        <a:bodyPr/>
        <a:lstStyle/>
        <a:p>
          <a:endParaRPr lang="hr-HR" sz="1500"/>
        </a:p>
      </dgm:t>
    </dgm:pt>
    <dgm:pt modelId="{01B8E73A-69EE-4388-9358-BB3E08C596ED}" type="sibTrans" cxnId="{E53A55E9-FD1C-4261-8BDC-A20919761720}">
      <dgm:prSet/>
      <dgm:spPr/>
      <dgm:t>
        <a:bodyPr/>
        <a:lstStyle/>
        <a:p>
          <a:endParaRPr lang="hr-HR" sz="1500"/>
        </a:p>
      </dgm:t>
    </dgm:pt>
    <dgm:pt modelId="{354FBEFD-DE3F-4634-A4B7-60EC0E408C6A}">
      <dgm:prSet custT="1"/>
      <dgm:spPr/>
      <dgm:t>
        <a:bodyPr/>
        <a:lstStyle/>
        <a:p>
          <a:pPr rtl="0"/>
          <a:r>
            <a:rPr lang="hr-HR" sz="1500" smtClean="0"/>
            <a:t>Zagrebačka banka d.d. </a:t>
          </a:r>
          <a:endParaRPr lang="hr-HR" sz="1500"/>
        </a:p>
      </dgm:t>
    </dgm:pt>
    <dgm:pt modelId="{4BD2CB2C-58A1-4B9C-B55B-A816677E2226}" type="parTrans" cxnId="{5F6AC476-11FD-4D1F-947A-E21039B4B3E4}">
      <dgm:prSet/>
      <dgm:spPr/>
      <dgm:t>
        <a:bodyPr/>
        <a:lstStyle/>
        <a:p>
          <a:endParaRPr lang="hr-HR" sz="1500"/>
        </a:p>
      </dgm:t>
    </dgm:pt>
    <dgm:pt modelId="{DBE6E4E0-0EDE-44C9-A289-43CA8EF34765}" type="sibTrans" cxnId="{5F6AC476-11FD-4D1F-947A-E21039B4B3E4}">
      <dgm:prSet/>
      <dgm:spPr/>
      <dgm:t>
        <a:bodyPr/>
        <a:lstStyle/>
        <a:p>
          <a:endParaRPr lang="hr-HR" sz="1500"/>
        </a:p>
      </dgm:t>
    </dgm:pt>
    <dgm:pt modelId="{A5226A54-A195-49FB-BE20-ACEF6BF8203D}">
      <dgm:prSet custT="1"/>
      <dgm:spPr/>
      <dgm:t>
        <a:bodyPr/>
        <a:lstStyle/>
        <a:p>
          <a:pPr rtl="0"/>
          <a:r>
            <a:rPr lang="hr-HR" sz="1500" dirty="0" smtClean="0"/>
            <a:t>Model podjele rizika s odabranim bankama (50%:50%) :</a:t>
          </a:r>
          <a:endParaRPr lang="hr-HR" sz="1500" dirty="0"/>
        </a:p>
      </dgm:t>
    </dgm:pt>
    <dgm:pt modelId="{23D394FA-CEB8-49B2-8178-CDA03A0508A5}" type="parTrans" cxnId="{BC529E95-A512-436F-A6D8-626270CA0F85}">
      <dgm:prSet/>
      <dgm:spPr/>
      <dgm:t>
        <a:bodyPr/>
        <a:lstStyle/>
        <a:p>
          <a:endParaRPr lang="hr-HR" sz="1500"/>
        </a:p>
      </dgm:t>
    </dgm:pt>
    <dgm:pt modelId="{D990C878-AB5D-4BF6-98B2-A209E7C84833}" type="sibTrans" cxnId="{BC529E95-A512-436F-A6D8-626270CA0F85}">
      <dgm:prSet/>
      <dgm:spPr/>
      <dgm:t>
        <a:bodyPr/>
        <a:lstStyle/>
        <a:p>
          <a:endParaRPr lang="hr-HR" sz="1500"/>
        </a:p>
      </dgm:t>
    </dgm:pt>
    <dgm:pt modelId="{8392A494-68F0-4554-BE19-148D22639F00}" type="pres">
      <dgm:prSet presAssocID="{62AEC6EC-BC27-46AF-9E16-BBD6D1838765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hr-HR"/>
        </a:p>
      </dgm:t>
    </dgm:pt>
    <dgm:pt modelId="{267B57EC-F29C-4ECD-A07C-A4C098572593}" type="pres">
      <dgm:prSet presAssocID="{A5226A54-A195-49FB-BE20-ACEF6BF8203D}" presName="linNode" presStyleCnt="0"/>
      <dgm:spPr/>
    </dgm:pt>
    <dgm:pt modelId="{B422D171-A012-49EC-BC38-93E53162D0DC}" type="pres">
      <dgm:prSet presAssocID="{A5226A54-A195-49FB-BE20-ACEF6BF8203D}" presName="parTx" presStyleLbl="revTx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13940533-B030-43AD-8496-9B26604D36E9}" type="pres">
      <dgm:prSet presAssocID="{A5226A54-A195-49FB-BE20-ACEF6BF8203D}" presName="bracket" presStyleLbl="parChTrans1D1" presStyleIdx="0" presStyleCnt="1"/>
      <dgm:spPr/>
    </dgm:pt>
    <dgm:pt modelId="{73BF9AC3-8CEA-4FB9-8E44-1B58E2D1A2C9}" type="pres">
      <dgm:prSet presAssocID="{A5226A54-A195-49FB-BE20-ACEF6BF8203D}" presName="spH" presStyleCnt="0"/>
      <dgm:spPr/>
    </dgm:pt>
    <dgm:pt modelId="{980B8E60-D98A-41E2-8424-70B2F5498FCF}" type="pres">
      <dgm:prSet presAssocID="{A5226A54-A195-49FB-BE20-ACEF6BF8203D}" presName="desTx" presStyleLbl="node1" presStyleIdx="0" presStyleCnt="1" custScaleX="74070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</dgm:ptLst>
  <dgm:cxnLst>
    <dgm:cxn modelId="{98BBE2CD-F7FD-439F-901B-5EB49BE37E9E}" type="presOf" srcId="{354FBEFD-DE3F-4634-A4B7-60EC0E408C6A}" destId="{980B8E60-D98A-41E2-8424-70B2F5498FCF}" srcOrd="0" destOrd="2" presId="urn:diagrams.loki3.com/BracketList"/>
    <dgm:cxn modelId="{5F6AC476-11FD-4D1F-947A-E21039B4B3E4}" srcId="{A5226A54-A195-49FB-BE20-ACEF6BF8203D}" destId="{354FBEFD-DE3F-4634-A4B7-60EC0E408C6A}" srcOrd="2" destOrd="0" parTransId="{4BD2CB2C-58A1-4B9C-B55B-A816677E2226}" sibTransId="{DBE6E4E0-0EDE-44C9-A289-43CA8EF34765}"/>
    <dgm:cxn modelId="{BC529E95-A512-436F-A6D8-626270CA0F85}" srcId="{62AEC6EC-BC27-46AF-9E16-BBD6D1838765}" destId="{A5226A54-A195-49FB-BE20-ACEF6BF8203D}" srcOrd="0" destOrd="0" parTransId="{23D394FA-CEB8-49B2-8178-CDA03A0508A5}" sibTransId="{D990C878-AB5D-4BF6-98B2-A209E7C84833}"/>
    <dgm:cxn modelId="{E53A55E9-FD1C-4261-8BDC-A20919761720}" srcId="{A5226A54-A195-49FB-BE20-ACEF6BF8203D}" destId="{9D58BF90-C8A8-476E-8568-72BBF13E3728}" srcOrd="1" destOrd="0" parTransId="{7EBA3E40-85ED-4A1F-97E5-021FA0BAA8F3}" sibTransId="{01B8E73A-69EE-4388-9358-BB3E08C596ED}"/>
    <dgm:cxn modelId="{0D22AB71-C960-4161-B24A-A6CBED35F44B}" srcId="{A5226A54-A195-49FB-BE20-ACEF6BF8203D}" destId="{7D2B78F0-3BAF-4970-A2BA-AEEFF10CFE7B}" srcOrd="0" destOrd="0" parTransId="{D34B37B7-FB2B-4852-8C0A-D9CBBBC842D7}" sibTransId="{E1D5AB10-4B65-49A8-A8B8-F5885187AA1B}"/>
    <dgm:cxn modelId="{C9E4993C-BBF0-4B45-B804-959CC7D73BC8}" type="presOf" srcId="{A5226A54-A195-49FB-BE20-ACEF6BF8203D}" destId="{B422D171-A012-49EC-BC38-93E53162D0DC}" srcOrd="0" destOrd="0" presId="urn:diagrams.loki3.com/BracketList"/>
    <dgm:cxn modelId="{42C949A5-A7FA-40FB-99F7-CFDFBDA4711C}" type="presOf" srcId="{7D2B78F0-3BAF-4970-A2BA-AEEFF10CFE7B}" destId="{980B8E60-D98A-41E2-8424-70B2F5498FCF}" srcOrd="0" destOrd="0" presId="urn:diagrams.loki3.com/BracketList"/>
    <dgm:cxn modelId="{EF548B87-5EF7-4C58-8195-A7930F797324}" type="presOf" srcId="{62AEC6EC-BC27-46AF-9E16-BBD6D1838765}" destId="{8392A494-68F0-4554-BE19-148D22639F00}" srcOrd="0" destOrd="0" presId="urn:diagrams.loki3.com/BracketList"/>
    <dgm:cxn modelId="{47E5CABA-2872-4503-8543-52F50C6C29DD}" type="presOf" srcId="{9D58BF90-C8A8-476E-8568-72BBF13E3728}" destId="{980B8E60-D98A-41E2-8424-70B2F5498FCF}" srcOrd="0" destOrd="1" presId="urn:diagrams.loki3.com/BracketList"/>
    <dgm:cxn modelId="{23AA10BE-E57F-4EC9-89F8-E90F828DB051}" type="presParOf" srcId="{8392A494-68F0-4554-BE19-148D22639F00}" destId="{267B57EC-F29C-4ECD-A07C-A4C098572593}" srcOrd="0" destOrd="0" presId="urn:diagrams.loki3.com/BracketList"/>
    <dgm:cxn modelId="{3C4899A2-5842-4900-B33C-91A08C91DB53}" type="presParOf" srcId="{267B57EC-F29C-4ECD-A07C-A4C098572593}" destId="{B422D171-A012-49EC-BC38-93E53162D0DC}" srcOrd="0" destOrd="0" presId="urn:diagrams.loki3.com/BracketList"/>
    <dgm:cxn modelId="{5E5E9509-21AF-4BD2-96FF-6A5A1139A1F4}" type="presParOf" srcId="{267B57EC-F29C-4ECD-A07C-A4C098572593}" destId="{13940533-B030-43AD-8496-9B26604D36E9}" srcOrd="1" destOrd="0" presId="urn:diagrams.loki3.com/BracketList"/>
    <dgm:cxn modelId="{AF455E05-370C-4A78-A009-BCB5BFD995D0}" type="presParOf" srcId="{267B57EC-F29C-4ECD-A07C-A4C098572593}" destId="{73BF9AC3-8CEA-4FB9-8E44-1B58E2D1A2C9}" srcOrd="2" destOrd="0" presId="urn:diagrams.loki3.com/BracketList"/>
    <dgm:cxn modelId="{93360E5D-C9D0-4BC7-B251-7DB3D5651BAB}" type="presParOf" srcId="{267B57EC-F29C-4ECD-A07C-A4C098572593}" destId="{980B8E60-D98A-41E2-8424-70B2F5498FCF}" srcOrd="3" destOrd="0" presId="urn:diagrams.loki3.com/BracketLis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74C5424-CFD0-40EE-B460-583E8926D687}">
      <dsp:nvSpPr>
        <dsp:cNvPr id="0" name=""/>
        <dsp:cNvSpPr/>
      </dsp:nvSpPr>
      <dsp:spPr>
        <a:xfrm>
          <a:off x="1437179" y="2788146"/>
          <a:ext cx="1681296" cy="1449570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22860" rIns="0" bIns="2286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800" kern="1200" dirty="0" smtClean="0"/>
            <a:t>Razvojna banka</a:t>
          </a:r>
          <a:endParaRPr lang="hr-HR" sz="1800" kern="1200" dirty="0"/>
        </a:p>
      </dsp:txBody>
      <dsp:txXfrm>
        <a:off x="1698085" y="3013092"/>
        <a:ext cx="1159485" cy="999678"/>
      </dsp:txXfrm>
    </dsp:sp>
    <dsp:sp modelId="{A8255CCE-E08F-431F-A066-C2F2042823D4}">
      <dsp:nvSpPr>
        <dsp:cNvPr id="0" name=""/>
        <dsp:cNvSpPr/>
      </dsp:nvSpPr>
      <dsp:spPr>
        <a:xfrm>
          <a:off x="1480856" y="3428102"/>
          <a:ext cx="196849" cy="169659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0E20A13A-4F47-4700-A0F5-66A4B87D4975}">
      <dsp:nvSpPr>
        <dsp:cNvPr id="0" name=""/>
        <dsp:cNvSpPr/>
      </dsp:nvSpPr>
      <dsp:spPr>
        <a:xfrm>
          <a:off x="0" y="2009552"/>
          <a:ext cx="1681296" cy="1449570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6000" r="-16000"/>
          </a:stretch>
        </a:blip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9467EE4-8D0B-4180-88BC-2532F706DD93}">
      <dsp:nvSpPr>
        <dsp:cNvPr id="0" name=""/>
        <dsp:cNvSpPr/>
      </dsp:nvSpPr>
      <dsp:spPr>
        <a:xfrm>
          <a:off x="1144597" y="3267634"/>
          <a:ext cx="196849" cy="169659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F46A0CF9-A397-495D-BED0-E2D5CD742695}">
      <dsp:nvSpPr>
        <dsp:cNvPr id="0" name=""/>
        <dsp:cNvSpPr/>
      </dsp:nvSpPr>
      <dsp:spPr>
        <a:xfrm>
          <a:off x="2869571" y="1992318"/>
          <a:ext cx="1681296" cy="1449570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22860" rIns="0" bIns="2286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800" kern="1200" dirty="0" smtClean="0"/>
            <a:t>Izvozna banka</a:t>
          </a:r>
          <a:endParaRPr lang="hr-HR" sz="1800" kern="1200" dirty="0"/>
        </a:p>
      </dsp:txBody>
      <dsp:txXfrm>
        <a:off x="3130477" y="2217264"/>
        <a:ext cx="1159485" cy="999678"/>
      </dsp:txXfrm>
    </dsp:sp>
    <dsp:sp modelId="{401627CB-A6E2-4DFF-918F-D43ECDB7E8B8}">
      <dsp:nvSpPr>
        <dsp:cNvPr id="0" name=""/>
        <dsp:cNvSpPr/>
      </dsp:nvSpPr>
      <dsp:spPr>
        <a:xfrm>
          <a:off x="4018955" y="3248868"/>
          <a:ext cx="196849" cy="169659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362F0EB0-DF8E-4DA7-A751-B87497285E70}">
      <dsp:nvSpPr>
        <dsp:cNvPr id="0" name=""/>
        <dsp:cNvSpPr/>
      </dsp:nvSpPr>
      <dsp:spPr>
        <a:xfrm>
          <a:off x="4301963" y="2788146"/>
          <a:ext cx="1681296" cy="1449570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AD1D7DEC-6B2D-45EC-A67C-6A4B02AD2219}">
      <dsp:nvSpPr>
        <dsp:cNvPr id="0" name=""/>
        <dsp:cNvSpPr/>
      </dsp:nvSpPr>
      <dsp:spPr>
        <a:xfrm>
          <a:off x="4345641" y="3428102"/>
          <a:ext cx="196849" cy="169659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30DDEAA2-801C-4551-BF0F-45AC41873992}">
      <dsp:nvSpPr>
        <dsp:cNvPr id="0" name=""/>
        <dsp:cNvSpPr/>
      </dsp:nvSpPr>
      <dsp:spPr>
        <a:xfrm>
          <a:off x="1437179" y="1199937"/>
          <a:ext cx="1681296" cy="1449570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22860" rIns="0" bIns="2286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800" kern="1200" dirty="0" smtClean="0"/>
            <a:t>Izvozno kreditna agencija</a:t>
          </a:r>
          <a:endParaRPr lang="hr-HR" sz="1800" kern="1200" dirty="0"/>
        </a:p>
      </dsp:txBody>
      <dsp:txXfrm>
        <a:off x="1698085" y="1424883"/>
        <a:ext cx="1159485" cy="999678"/>
      </dsp:txXfrm>
    </dsp:sp>
    <dsp:sp modelId="{7B697F36-30A2-4386-B9B9-0B5D4015730F}">
      <dsp:nvSpPr>
        <dsp:cNvPr id="0" name=""/>
        <dsp:cNvSpPr/>
      </dsp:nvSpPr>
      <dsp:spPr>
        <a:xfrm>
          <a:off x="2576990" y="1231342"/>
          <a:ext cx="196849" cy="169659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E41B6358-3C00-47AB-A7C1-94845E2D3B74}">
      <dsp:nvSpPr>
        <dsp:cNvPr id="0" name=""/>
        <dsp:cNvSpPr/>
      </dsp:nvSpPr>
      <dsp:spPr>
        <a:xfrm>
          <a:off x="2869571" y="407940"/>
          <a:ext cx="1681296" cy="1449570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5000" r="-15000"/>
          </a:stretch>
        </a:blip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CDDF4ADE-DCFA-458D-B588-C2584237BE7F}">
      <dsp:nvSpPr>
        <dsp:cNvPr id="0" name=""/>
        <dsp:cNvSpPr/>
      </dsp:nvSpPr>
      <dsp:spPr>
        <a:xfrm>
          <a:off x="2919232" y="1044449"/>
          <a:ext cx="196849" cy="169659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85392C-5C7A-4D2F-9EE5-7FE794F0F3AF}">
      <dsp:nvSpPr>
        <dsp:cNvPr id="0" name=""/>
        <dsp:cNvSpPr/>
      </dsp:nvSpPr>
      <dsp:spPr>
        <a:xfrm rot="5400000">
          <a:off x="4779451" y="-1926769"/>
          <a:ext cx="821769" cy="4885022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400" b="1" kern="1200" dirty="0"/>
            <a:t>UKUPNA POSLOVNA AKTIVNOST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400" b="1" kern="1200" dirty="0"/>
            <a:t>VIŠE OD 56 TISUĆA </a:t>
          </a:r>
          <a:r>
            <a:rPr lang="hr-HR" sz="1400" b="0" kern="1200" dirty="0"/>
            <a:t>PODRŽANIH</a:t>
          </a:r>
          <a:r>
            <a:rPr lang="hr-HR" sz="1400" b="1" kern="1200" dirty="0"/>
            <a:t> </a:t>
          </a:r>
          <a:r>
            <a:rPr lang="hr-HR" sz="1400" kern="1200" dirty="0"/>
            <a:t>PROJEKATA</a:t>
          </a:r>
        </a:p>
      </dsp:txBody>
      <dsp:txXfrm rot="-5400000">
        <a:off x="2747825" y="144972"/>
        <a:ext cx="4844907" cy="741539"/>
      </dsp:txXfrm>
    </dsp:sp>
    <dsp:sp modelId="{AEF4A71B-D9EA-4370-B044-70A0FC0D6C1B}">
      <dsp:nvSpPr>
        <dsp:cNvPr id="0" name=""/>
        <dsp:cNvSpPr/>
      </dsp:nvSpPr>
      <dsp:spPr>
        <a:xfrm>
          <a:off x="0" y="2135"/>
          <a:ext cx="2747825" cy="1027211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2000" b="1" kern="1200" dirty="0"/>
            <a:t> 155,8 MLRD. KUNA </a:t>
          </a:r>
        </a:p>
      </dsp:txBody>
      <dsp:txXfrm>
        <a:off x="50144" y="52279"/>
        <a:ext cx="2647537" cy="926923"/>
      </dsp:txXfrm>
    </dsp:sp>
    <dsp:sp modelId="{599E2D16-7A14-4B34-98F7-432C5AC29FE0}">
      <dsp:nvSpPr>
        <dsp:cNvPr id="0" name=""/>
        <dsp:cNvSpPr/>
      </dsp:nvSpPr>
      <dsp:spPr>
        <a:xfrm rot="5400000">
          <a:off x="4779451" y="-848197"/>
          <a:ext cx="821769" cy="4885022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400" b="1" kern="1200" dirty="0"/>
            <a:t>UKUPNA KREDITNA AKTIVNOST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400" kern="1200" dirty="0"/>
            <a:t> </a:t>
          </a:r>
          <a:r>
            <a:rPr lang="hr-HR" sz="1400" b="1" kern="1200" dirty="0"/>
            <a:t>VIŠE OD 38 TISUĆA </a:t>
          </a:r>
          <a:r>
            <a:rPr lang="hr-HR" sz="1400" b="0" kern="1200" dirty="0"/>
            <a:t>PODRŽANIH </a:t>
          </a:r>
          <a:r>
            <a:rPr lang="hr-HR" sz="1400" kern="1200" dirty="0"/>
            <a:t>PROJEKATA</a:t>
          </a:r>
        </a:p>
      </dsp:txBody>
      <dsp:txXfrm rot="-5400000">
        <a:off x="2747825" y="1223544"/>
        <a:ext cx="4844907" cy="741539"/>
      </dsp:txXfrm>
    </dsp:sp>
    <dsp:sp modelId="{78C9ACDD-D8DD-4C13-BA06-05B7419E3984}">
      <dsp:nvSpPr>
        <dsp:cNvPr id="0" name=""/>
        <dsp:cNvSpPr/>
      </dsp:nvSpPr>
      <dsp:spPr>
        <a:xfrm>
          <a:off x="0" y="1080707"/>
          <a:ext cx="2747825" cy="1027211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2000" b="1" kern="1200" dirty="0"/>
            <a:t>100,8 MLRD. KUNA</a:t>
          </a:r>
        </a:p>
      </dsp:txBody>
      <dsp:txXfrm>
        <a:off x="50144" y="1130851"/>
        <a:ext cx="2647537" cy="926923"/>
      </dsp:txXfrm>
    </dsp:sp>
    <dsp:sp modelId="{BD815F37-7B0C-4319-A744-16292475EB93}">
      <dsp:nvSpPr>
        <dsp:cNvPr id="0" name=""/>
        <dsp:cNvSpPr/>
      </dsp:nvSpPr>
      <dsp:spPr>
        <a:xfrm rot="5400000">
          <a:off x="4779451" y="230374"/>
          <a:ext cx="821769" cy="4885022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400" b="1" kern="1200" dirty="0"/>
            <a:t>OSIGURANJE IZVOZNIH POSLOVA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400" b="1" kern="1200" dirty="0"/>
            <a:t>VIŠE OD 27 TISUĆA </a:t>
          </a:r>
          <a:r>
            <a:rPr lang="hr-HR" sz="1400" b="0" kern="1200" dirty="0"/>
            <a:t>PODRŽANIH</a:t>
          </a:r>
          <a:r>
            <a:rPr lang="hr-HR" sz="1400" b="1" kern="1200" dirty="0"/>
            <a:t> </a:t>
          </a:r>
          <a:r>
            <a:rPr lang="hr-HR" sz="1400" kern="1200" dirty="0"/>
            <a:t>IZVOZNIH POSLOVA</a:t>
          </a:r>
          <a:endParaRPr lang="hr-HR" sz="1400" b="1" kern="1200" dirty="0"/>
        </a:p>
      </dsp:txBody>
      <dsp:txXfrm rot="-5400000">
        <a:off x="2747825" y="2302116"/>
        <a:ext cx="4844907" cy="741539"/>
      </dsp:txXfrm>
    </dsp:sp>
    <dsp:sp modelId="{D8A38C71-5A7C-46FD-B6BF-CA497BB8BAE3}">
      <dsp:nvSpPr>
        <dsp:cNvPr id="0" name=""/>
        <dsp:cNvSpPr/>
      </dsp:nvSpPr>
      <dsp:spPr>
        <a:xfrm>
          <a:off x="0" y="2159280"/>
          <a:ext cx="2747825" cy="1027211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2000" b="1" kern="1200" dirty="0"/>
            <a:t>27,2 MLRD. KUNA</a:t>
          </a:r>
        </a:p>
      </dsp:txBody>
      <dsp:txXfrm>
        <a:off x="50144" y="2209424"/>
        <a:ext cx="2647537" cy="926923"/>
      </dsp:txXfrm>
    </dsp:sp>
    <dsp:sp modelId="{3E7B46F2-1DE0-45DD-887C-B15B2C74FEE3}">
      <dsp:nvSpPr>
        <dsp:cNvPr id="0" name=""/>
        <dsp:cNvSpPr/>
      </dsp:nvSpPr>
      <dsp:spPr>
        <a:xfrm rot="5400000">
          <a:off x="4779451" y="1308947"/>
          <a:ext cx="821769" cy="4885022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400" b="1" kern="1200" dirty="0"/>
            <a:t>UKUPNA GARANCIJSKA AKTIVNOST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400" kern="1200" dirty="0"/>
            <a:t> </a:t>
          </a:r>
          <a:r>
            <a:rPr lang="hr-HR" sz="1400" b="1" kern="1200" dirty="0"/>
            <a:t>VIŠE OD 700 </a:t>
          </a:r>
          <a:r>
            <a:rPr lang="hr-HR" sz="1400" b="0" kern="1200" dirty="0"/>
            <a:t>ODOBRENIH GARANCIJA</a:t>
          </a:r>
          <a:endParaRPr lang="hr-HR" sz="1400" kern="1200" dirty="0"/>
        </a:p>
      </dsp:txBody>
      <dsp:txXfrm rot="-5400000">
        <a:off x="2747825" y="3380689"/>
        <a:ext cx="4844907" cy="741539"/>
      </dsp:txXfrm>
    </dsp:sp>
    <dsp:sp modelId="{0B44F03C-042D-4305-BC39-4322CCC7ADAC}">
      <dsp:nvSpPr>
        <dsp:cNvPr id="0" name=""/>
        <dsp:cNvSpPr/>
      </dsp:nvSpPr>
      <dsp:spPr>
        <a:xfrm>
          <a:off x="0" y="3237852"/>
          <a:ext cx="2747825" cy="1027211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2000" b="1" kern="1200" dirty="0"/>
            <a:t>27,8 MLRD. KUNA</a:t>
          </a:r>
        </a:p>
      </dsp:txBody>
      <dsp:txXfrm>
        <a:off x="50144" y="3287996"/>
        <a:ext cx="2647537" cy="92692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3FFCAE-84DC-48EE-B766-C2F879C7732B}">
      <dsp:nvSpPr>
        <dsp:cNvPr id="0" name=""/>
        <dsp:cNvSpPr/>
      </dsp:nvSpPr>
      <dsp:spPr>
        <a:xfrm>
          <a:off x="495672" y="0"/>
          <a:ext cx="4032448" cy="4032448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20FCA23-22A4-4B57-8D7C-8C592BD4DE05}">
      <dsp:nvSpPr>
        <dsp:cNvPr id="0" name=""/>
        <dsp:cNvSpPr/>
      </dsp:nvSpPr>
      <dsp:spPr>
        <a:xfrm>
          <a:off x="878754" y="383082"/>
          <a:ext cx="1572654" cy="1572654"/>
        </a:xfrm>
        <a:prstGeom prst="roundRect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800" kern="1200" smtClean="0"/>
            <a:t>Izravno kreditiranje</a:t>
          </a:r>
          <a:endParaRPr lang="hr-HR" sz="1800" kern="1200"/>
        </a:p>
      </dsp:txBody>
      <dsp:txXfrm>
        <a:off x="955525" y="459853"/>
        <a:ext cx="1419112" cy="1419112"/>
      </dsp:txXfrm>
    </dsp:sp>
    <dsp:sp modelId="{81743D00-37E1-46E4-8555-B109507EF405}">
      <dsp:nvSpPr>
        <dsp:cNvPr id="0" name=""/>
        <dsp:cNvSpPr/>
      </dsp:nvSpPr>
      <dsp:spPr>
        <a:xfrm>
          <a:off x="2572382" y="383082"/>
          <a:ext cx="1572654" cy="157265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800" kern="1200" smtClean="0"/>
            <a:t>Kreditiranje uz podjelu rizika s poslovnim bankama</a:t>
          </a:r>
          <a:endParaRPr lang="hr-HR" sz="1800" kern="1200"/>
        </a:p>
      </dsp:txBody>
      <dsp:txXfrm>
        <a:off x="2649153" y="459853"/>
        <a:ext cx="1419112" cy="1419112"/>
      </dsp:txXfrm>
    </dsp:sp>
    <dsp:sp modelId="{683017F7-6BE2-48F7-9C59-47D205CD52D9}">
      <dsp:nvSpPr>
        <dsp:cNvPr id="0" name=""/>
        <dsp:cNvSpPr/>
      </dsp:nvSpPr>
      <dsp:spPr>
        <a:xfrm>
          <a:off x="878754" y="2076710"/>
          <a:ext cx="1572654" cy="157265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800" kern="1200" smtClean="0"/>
            <a:t>Kreditiranje putem poslovnih banaka</a:t>
          </a:r>
          <a:endParaRPr lang="hr-HR" sz="1800" kern="1200"/>
        </a:p>
      </dsp:txBody>
      <dsp:txXfrm>
        <a:off x="955525" y="2153481"/>
        <a:ext cx="1419112" cy="1419112"/>
      </dsp:txXfrm>
    </dsp:sp>
    <dsp:sp modelId="{0F2851E7-6FD9-413B-8B50-451CFB97F58C}">
      <dsp:nvSpPr>
        <dsp:cNvPr id="0" name=""/>
        <dsp:cNvSpPr/>
      </dsp:nvSpPr>
      <dsp:spPr>
        <a:xfrm>
          <a:off x="2572382" y="2076710"/>
          <a:ext cx="1572654" cy="1572654"/>
        </a:xfrm>
        <a:prstGeom prst="roundRect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800" kern="1200" smtClean="0"/>
            <a:t>Financiranje u suradnji s leasing društvima</a:t>
          </a:r>
          <a:endParaRPr lang="hr-HR" sz="1800" kern="1200"/>
        </a:p>
      </dsp:txBody>
      <dsp:txXfrm>
        <a:off x="2649153" y="2153481"/>
        <a:ext cx="1419112" cy="141911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E123E9-2334-477F-AEB4-DF0C34814F7E}">
      <dsp:nvSpPr>
        <dsp:cNvPr id="0" name=""/>
        <dsp:cNvSpPr/>
      </dsp:nvSpPr>
      <dsp:spPr>
        <a:xfrm>
          <a:off x="2138081" y="0"/>
          <a:ext cx="1930341" cy="1476610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378B90-AED9-40F5-8F00-64412E4AD6F6}">
      <dsp:nvSpPr>
        <dsp:cNvPr id="0" name=""/>
        <dsp:cNvSpPr/>
      </dsp:nvSpPr>
      <dsp:spPr>
        <a:xfrm>
          <a:off x="2572907" y="534702"/>
          <a:ext cx="1060134" cy="4116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400" kern="1200" dirty="0" smtClean="0"/>
            <a:t>Gospodarstvo</a:t>
          </a:r>
          <a:endParaRPr lang="hr-HR" sz="1400" kern="1200" dirty="0"/>
        </a:p>
      </dsp:txBody>
      <dsp:txXfrm>
        <a:off x="2572907" y="534702"/>
        <a:ext cx="1060134" cy="411698"/>
      </dsp:txXfrm>
    </dsp:sp>
    <dsp:sp modelId="{894FB522-EE0F-48FC-9048-097CCA33148D}">
      <dsp:nvSpPr>
        <dsp:cNvPr id="0" name=""/>
        <dsp:cNvSpPr/>
      </dsp:nvSpPr>
      <dsp:spPr>
        <a:xfrm>
          <a:off x="1688326" y="848671"/>
          <a:ext cx="2009508" cy="1476610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28B9D26-5507-4E20-96D8-F799B0A35045}">
      <dsp:nvSpPr>
        <dsp:cNvPr id="0" name=""/>
        <dsp:cNvSpPr/>
      </dsp:nvSpPr>
      <dsp:spPr>
        <a:xfrm>
          <a:off x="2279170" y="1385059"/>
          <a:ext cx="823943" cy="4116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400" kern="1200" dirty="0" smtClean="0"/>
            <a:t>Izvoz i turizam</a:t>
          </a:r>
          <a:endParaRPr lang="hr-HR" sz="1400" kern="1200" dirty="0"/>
        </a:p>
      </dsp:txBody>
      <dsp:txXfrm>
        <a:off x="2279170" y="1385059"/>
        <a:ext cx="823943" cy="411698"/>
      </dsp:txXfrm>
    </dsp:sp>
    <dsp:sp modelId="{86BCF518-D9C6-47FB-87D0-45FCC407B17F}">
      <dsp:nvSpPr>
        <dsp:cNvPr id="0" name=""/>
        <dsp:cNvSpPr/>
      </dsp:nvSpPr>
      <dsp:spPr>
        <a:xfrm>
          <a:off x="2157873" y="1700152"/>
          <a:ext cx="1890757" cy="1476610"/>
        </a:xfrm>
        <a:prstGeom prst="circularArrow">
          <a:avLst>
            <a:gd name="adj1" fmla="val 10980"/>
            <a:gd name="adj2" fmla="val 1142322"/>
            <a:gd name="adj3" fmla="val 4500000"/>
            <a:gd name="adj4" fmla="val 135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10F921-CC0A-48B2-A550-91C4DFB6E93D}">
      <dsp:nvSpPr>
        <dsp:cNvPr id="0" name=""/>
        <dsp:cNvSpPr/>
      </dsp:nvSpPr>
      <dsp:spPr>
        <a:xfrm>
          <a:off x="2432433" y="2234854"/>
          <a:ext cx="1341083" cy="4116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400" kern="1200" dirty="0" smtClean="0"/>
            <a:t>Infrastruktura i zaštita okoliša</a:t>
          </a:r>
          <a:endParaRPr lang="hr-HR" sz="1400" kern="1200" dirty="0"/>
        </a:p>
      </dsp:txBody>
      <dsp:txXfrm>
        <a:off x="2432433" y="2234854"/>
        <a:ext cx="1341083" cy="411698"/>
      </dsp:txXfrm>
    </dsp:sp>
    <dsp:sp modelId="{DC2F6AE7-7870-471F-BF68-9D926441E4F5}">
      <dsp:nvSpPr>
        <dsp:cNvPr id="0" name=""/>
        <dsp:cNvSpPr/>
      </dsp:nvSpPr>
      <dsp:spPr>
        <a:xfrm>
          <a:off x="1642541" y="2550508"/>
          <a:ext cx="2101078" cy="1476610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60B41B-C438-4D90-9ED7-CDA76C35752F}">
      <dsp:nvSpPr>
        <dsp:cNvPr id="0" name=""/>
        <dsp:cNvSpPr/>
      </dsp:nvSpPr>
      <dsp:spPr>
        <a:xfrm>
          <a:off x="2279170" y="3085211"/>
          <a:ext cx="823943" cy="4116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400" kern="1200" dirty="0" smtClean="0"/>
            <a:t>EU Programi</a:t>
          </a:r>
          <a:endParaRPr lang="hr-HR" sz="1400" kern="1200" dirty="0"/>
        </a:p>
      </dsp:txBody>
      <dsp:txXfrm>
        <a:off x="2279170" y="3085211"/>
        <a:ext cx="823943" cy="411698"/>
      </dsp:txXfrm>
    </dsp:sp>
    <dsp:sp modelId="{B5821CA9-9200-4D17-8932-3D3D305BCE1B}">
      <dsp:nvSpPr>
        <dsp:cNvPr id="0" name=""/>
        <dsp:cNvSpPr/>
      </dsp:nvSpPr>
      <dsp:spPr>
        <a:xfrm>
          <a:off x="2088406" y="3399742"/>
          <a:ext cx="2029691" cy="1476610"/>
        </a:xfrm>
        <a:prstGeom prst="circularArrow">
          <a:avLst>
            <a:gd name="adj1" fmla="val 10980"/>
            <a:gd name="adj2" fmla="val 1142322"/>
            <a:gd name="adj3" fmla="val 4500000"/>
            <a:gd name="adj4" fmla="val 135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77B5CA8-D154-49C0-927C-24B2A379670F}">
      <dsp:nvSpPr>
        <dsp:cNvPr id="0" name=""/>
        <dsp:cNvSpPr/>
      </dsp:nvSpPr>
      <dsp:spPr>
        <a:xfrm>
          <a:off x="2691003" y="3934445"/>
          <a:ext cx="823943" cy="4116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400" kern="1200" dirty="0" smtClean="0"/>
            <a:t>SME</a:t>
          </a:r>
          <a:endParaRPr lang="hr-HR" sz="1400" kern="1200" dirty="0"/>
        </a:p>
      </dsp:txBody>
      <dsp:txXfrm>
        <a:off x="2691003" y="3934445"/>
        <a:ext cx="823943" cy="411698"/>
      </dsp:txXfrm>
    </dsp:sp>
    <dsp:sp modelId="{AA01F0AB-C629-49B7-9B24-E1182C5E7F70}">
      <dsp:nvSpPr>
        <dsp:cNvPr id="0" name=""/>
        <dsp:cNvSpPr/>
      </dsp:nvSpPr>
      <dsp:spPr>
        <a:xfrm>
          <a:off x="1741715" y="4347266"/>
          <a:ext cx="1905222" cy="1269357"/>
        </a:xfrm>
        <a:prstGeom prst="blockArc">
          <a:avLst>
            <a:gd name="adj1" fmla="val 0"/>
            <a:gd name="adj2" fmla="val 18900000"/>
            <a:gd name="adj3" fmla="val 127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D0015CE-9817-4130-9BC5-442EFD8001D3}">
      <dsp:nvSpPr>
        <dsp:cNvPr id="0" name=""/>
        <dsp:cNvSpPr/>
      </dsp:nvSpPr>
      <dsp:spPr>
        <a:xfrm>
          <a:off x="2052693" y="4784801"/>
          <a:ext cx="1276897" cy="4116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400" kern="1200" dirty="0" smtClean="0"/>
            <a:t>Poljoprivreda</a:t>
          </a:r>
          <a:endParaRPr lang="hr-HR" sz="1400" kern="1200" dirty="0"/>
        </a:p>
      </dsp:txBody>
      <dsp:txXfrm>
        <a:off x="2052693" y="4784801"/>
        <a:ext cx="1276897" cy="41169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0B1A03-86D2-4568-9527-360F2383F779}">
      <dsp:nvSpPr>
        <dsp:cNvPr id="0" name=""/>
        <dsp:cNvSpPr/>
      </dsp:nvSpPr>
      <dsp:spPr>
        <a:xfrm>
          <a:off x="0" y="548743"/>
          <a:ext cx="8136904" cy="856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6D6A6F-F3C5-4E5E-A601-8CE23A5CE541}">
      <dsp:nvSpPr>
        <dsp:cNvPr id="0" name=""/>
        <dsp:cNvSpPr/>
      </dsp:nvSpPr>
      <dsp:spPr>
        <a:xfrm>
          <a:off x="406845" y="46903"/>
          <a:ext cx="5695832" cy="10036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289" tIns="0" rIns="215289" bIns="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ESIF financijski instrumenti za energetsku učinkovitost i poljoprivredu</a:t>
          </a:r>
          <a:endParaRPr lang="hr-HR" sz="1600" kern="1200" dirty="0"/>
        </a:p>
      </dsp:txBody>
      <dsp:txXfrm>
        <a:off x="455841" y="95899"/>
        <a:ext cx="5597840" cy="905688"/>
      </dsp:txXfrm>
    </dsp:sp>
    <dsp:sp modelId="{09DEF94A-DCC2-4DAF-B831-143F63F3D093}">
      <dsp:nvSpPr>
        <dsp:cNvPr id="0" name=""/>
        <dsp:cNvSpPr/>
      </dsp:nvSpPr>
      <dsp:spPr>
        <a:xfrm>
          <a:off x="0" y="2090983"/>
          <a:ext cx="8136904" cy="856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0A712E-6447-43C6-80A6-AE36BA6AE46D}">
      <dsp:nvSpPr>
        <dsp:cNvPr id="0" name=""/>
        <dsp:cNvSpPr/>
      </dsp:nvSpPr>
      <dsp:spPr>
        <a:xfrm>
          <a:off x="406845" y="1589143"/>
          <a:ext cx="5695832" cy="10036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289" tIns="0" rIns="215289" bIns="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Jačanje podrške izvoznicima</a:t>
          </a:r>
          <a:endParaRPr lang="hr-HR" sz="1600" kern="1200" dirty="0"/>
        </a:p>
      </dsp:txBody>
      <dsp:txXfrm>
        <a:off x="455841" y="1638139"/>
        <a:ext cx="5597840" cy="905688"/>
      </dsp:txXfrm>
    </dsp:sp>
    <dsp:sp modelId="{31B68BF2-FC1D-44E6-B9D6-20F2F2BF9CA3}">
      <dsp:nvSpPr>
        <dsp:cNvPr id="0" name=""/>
        <dsp:cNvSpPr/>
      </dsp:nvSpPr>
      <dsp:spPr>
        <a:xfrm>
          <a:off x="0" y="3633223"/>
          <a:ext cx="8136904" cy="856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45D2BEB-462E-472B-9480-90E03D5FCBBA}">
      <dsp:nvSpPr>
        <dsp:cNvPr id="0" name=""/>
        <dsp:cNvSpPr/>
      </dsp:nvSpPr>
      <dsp:spPr>
        <a:xfrm>
          <a:off x="406845" y="3131382"/>
          <a:ext cx="5695832" cy="10036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289" tIns="0" rIns="215289" bIns="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smtClean="0"/>
            <a:t>Equity financiranje</a:t>
          </a:r>
          <a:endParaRPr lang="hr-HR" sz="1600" kern="1200"/>
        </a:p>
      </dsp:txBody>
      <dsp:txXfrm>
        <a:off x="455841" y="3180378"/>
        <a:ext cx="5597840" cy="90568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FA66EF-2AA3-4984-9D3E-A9A0D98F60E5}">
      <dsp:nvSpPr>
        <dsp:cNvPr id="0" name=""/>
        <dsp:cNvSpPr/>
      </dsp:nvSpPr>
      <dsp:spPr>
        <a:xfrm>
          <a:off x="0" y="312687"/>
          <a:ext cx="8325619" cy="478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497797-E6DD-4C01-9CEF-838E4D4B5C7F}">
      <dsp:nvSpPr>
        <dsp:cNvPr id="0" name=""/>
        <dsp:cNvSpPr/>
      </dsp:nvSpPr>
      <dsp:spPr>
        <a:xfrm>
          <a:off x="416280" y="32247"/>
          <a:ext cx="5827933" cy="5608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0282" tIns="0" rIns="220282" bIns="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800" b="1" i="1" kern="1200" smtClean="0"/>
            <a:t>Kreditiranje pripreme i naplate izvoznih poslova</a:t>
          </a:r>
          <a:endParaRPr lang="hr-HR" sz="1800" kern="1200"/>
        </a:p>
      </dsp:txBody>
      <dsp:txXfrm>
        <a:off x="443660" y="59627"/>
        <a:ext cx="5773173" cy="506120"/>
      </dsp:txXfrm>
    </dsp:sp>
    <dsp:sp modelId="{1B75CF02-A12C-4DDA-BDED-6A744A4003A9}">
      <dsp:nvSpPr>
        <dsp:cNvPr id="0" name=""/>
        <dsp:cNvSpPr/>
      </dsp:nvSpPr>
      <dsp:spPr>
        <a:xfrm>
          <a:off x="0" y="1174527"/>
          <a:ext cx="8325619" cy="478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1417B50-A463-4343-8223-0771F39CE2AE}">
      <dsp:nvSpPr>
        <dsp:cNvPr id="0" name=""/>
        <dsp:cNvSpPr/>
      </dsp:nvSpPr>
      <dsp:spPr>
        <a:xfrm>
          <a:off x="416280" y="894087"/>
          <a:ext cx="5827933" cy="5608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0282" tIns="0" rIns="220282" bIns="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800" b="1" i="1" kern="1200" smtClean="0"/>
            <a:t>Krediti inozemnim kupcima i krediti dobavljačima</a:t>
          </a:r>
          <a:endParaRPr lang="hr-HR" sz="1800" kern="1200"/>
        </a:p>
      </dsp:txBody>
      <dsp:txXfrm>
        <a:off x="443660" y="921467"/>
        <a:ext cx="5773173" cy="506120"/>
      </dsp:txXfrm>
    </dsp:sp>
    <dsp:sp modelId="{7DEA396A-3107-4EBF-9167-7C12EA9F56C0}">
      <dsp:nvSpPr>
        <dsp:cNvPr id="0" name=""/>
        <dsp:cNvSpPr/>
      </dsp:nvSpPr>
      <dsp:spPr>
        <a:xfrm>
          <a:off x="0" y="2036367"/>
          <a:ext cx="8325619" cy="1675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6161" tIns="395732" rIns="646161" bIns="128016" numCol="1" spcCol="1270" anchor="t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800" b="1" i="1" kern="1200" smtClean="0"/>
            <a:t>Ponudbene garancije</a:t>
          </a:r>
          <a:endParaRPr lang="hr-HR" sz="1800" kern="120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800" b="1" i="1" kern="1200" dirty="0" smtClean="0"/>
            <a:t>Garancije za povrat avansa</a:t>
          </a:r>
          <a:endParaRPr lang="hr-HR" sz="18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800" b="1" i="1" kern="1200" smtClean="0"/>
            <a:t>Garancije za dobro izvršenje posla</a:t>
          </a:r>
          <a:endParaRPr lang="hr-HR" sz="1800" kern="120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800" b="1" i="1" kern="1200" smtClean="0"/>
            <a:t>Garancije za garantni period</a:t>
          </a:r>
          <a:endParaRPr lang="hr-HR" sz="1800" kern="1200"/>
        </a:p>
      </dsp:txBody>
      <dsp:txXfrm>
        <a:off x="0" y="2036367"/>
        <a:ext cx="8325619" cy="1675800"/>
      </dsp:txXfrm>
    </dsp:sp>
    <dsp:sp modelId="{94DC9474-F2A4-4477-9A76-09CC7398897D}">
      <dsp:nvSpPr>
        <dsp:cNvPr id="0" name=""/>
        <dsp:cNvSpPr/>
      </dsp:nvSpPr>
      <dsp:spPr>
        <a:xfrm>
          <a:off x="416280" y="1755927"/>
          <a:ext cx="5827933" cy="5608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0282" tIns="0" rIns="220282" bIns="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800" b="1" i="1" kern="1200" smtClean="0"/>
            <a:t>Izvozne činidbene garancije</a:t>
          </a:r>
          <a:endParaRPr lang="hr-HR" sz="1800" kern="1200"/>
        </a:p>
      </dsp:txBody>
      <dsp:txXfrm>
        <a:off x="443660" y="1783307"/>
        <a:ext cx="5773173" cy="50612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83CFB7-B094-4B3D-8996-459D5C5ACA0B}">
      <dsp:nvSpPr>
        <dsp:cNvPr id="0" name=""/>
        <dsp:cNvSpPr/>
      </dsp:nvSpPr>
      <dsp:spPr>
        <a:xfrm>
          <a:off x="780769" y="0"/>
          <a:ext cx="7520751" cy="2893553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F319AE7-DB3C-411E-874D-A8D473FD5EA3}">
      <dsp:nvSpPr>
        <dsp:cNvPr id="0" name=""/>
        <dsp:cNvSpPr/>
      </dsp:nvSpPr>
      <dsp:spPr>
        <a:xfrm>
          <a:off x="2430" y="868066"/>
          <a:ext cx="1414893" cy="115742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smtClean="0"/>
            <a:t>osiguranje naplate potraživanja </a:t>
          </a:r>
          <a:endParaRPr lang="hr-HR" sz="1600" kern="1200"/>
        </a:p>
      </dsp:txBody>
      <dsp:txXfrm>
        <a:off x="58931" y="924567"/>
        <a:ext cx="1301891" cy="1044419"/>
      </dsp:txXfrm>
    </dsp:sp>
    <dsp:sp modelId="{D430A249-47FE-4CF6-B1C9-812CF5D2D8D0}">
      <dsp:nvSpPr>
        <dsp:cNvPr id="0" name=""/>
        <dsp:cNvSpPr/>
      </dsp:nvSpPr>
      <dsp:spPr>
        <a:xfrm>
          <a:off x="1488068" y="868066"/>
          <a:ext cx="1414893" cy="115742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smtClean="0"/>
            <a:t>osiguranje kredita dobavljača </a:t>
          </a:r>
          <a:endParaRPr lang="hr-HR" sz="1600" kern="1200"/>
        </a:p>
      </dsp:txBody>
      <dsp:txXfrm>
        <a:off x="1544569" y="924567"/>
        <a:ext cx="1301891" cy="1044419"/>
      </dsp:txXfrm>
    </dsp:sp>
    <dsp:sp modelId="{485B53C7-733B-4C10-A556-D763F17DB8C2}">
      <dsp:nvSpPr>
        <dsp:cNvPr id="0" name=""/>
        <dsp:cNvSpPr/>
      </dsp:nvSpPr>
      <dsp:spPr>
        <a:xfrm>
          <a:off x="2973705" y="868066"/>
          <a:ext cx="1414893" cy="115742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smtClean="0"/>
            <a:t>osiguranje kredita kupcu </a:t>
          </a:r>
          <a:endParaRPr lang="hr-HR" sz="1600" kern="1200"/>
        </a:p>
      </dsp:txBody>
      <dsp:txXfrm>
        <a:off x="3030206" y="924567"/>
        <a:ext cx="1301891" cy="1044419"/>
      </dsp:txXfrm>
    </dsp:sp>
    <dsp:sp modelId="{3B7154FF-A18C-43B3-97ED-A494F1C53C60}">
      <dsp:nvSpPr>
        <dsp:cNvPr id="0" name=""/>
        <dsp:cNvSpPr/>
      </dsp:nvSpPr>
      <dsp:spPr>
        <a:xfrm>
          <a:off x="4459343" y="868066"/>
          <a:ext cx="1414893" cy="115742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smtClean="0"/>
            <a:t>osiguranje šteta tijekom proizvodnje </a:t>
          </a:r>
          <a:endParaRPr lang="hr-HR" sz="1600" kern="1200"/>
        </a:p>
      </dsp:txBody>
      <dsp:txXfrm>
        <a:off x="4515844" y="924567"/>
        <a:ext cx="1301891" cy="1044419"/>
      </dsp:txXfrm>
    </dsp:sp>
    <dsp:sp modelId="{C13F50AF-4622-4F33-BEDD-9B3E7DF7B00D}">
      <dsp:nvSpPr>
        <dsp:cNvPr id="0" name=""/>
        <dsp:cNvSpPr/>
      </dsp:nvSpPr>
      <dsp:spPr>
        <a:xfrm>
          <a:off x="5944981" y="868066"/>
          <a:ext cx="1414893" cy="115742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smtClean="0"/>
            <a:t>osiguranje kredita za pripremu izvoza  </a:t>
          </a:r>
          <a:endParaRPr lang="hr-HR" sz="1600" kern="1200"/>
        </a:p>
      </dsp:txBody>
      <dsp:txXfrm>
        <a:off x="6001482" y="924567"/>
        <a:ext cx="1301891" cy="1044419"/>
      </dsp:txXfrm>
    </dsp:sp>
    <dsp:sp modelId="{C3A1AC07-88D0-48A8-8CAD-A500698E60F8}">
      <dsp:nvSpPr>
        <dsp:cNvPr id="0" name=""/>
        <dsp:cNvSpPr/>
      </dsp:nvSpPr>
      <dsp:spPr>
        <a:xfrm>
          <a:off x="7430619" y="868066"/>
          <a:ext cx="1414893" cy="115742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osiguranje činidbenih bankarskih garancija</a:t>
          </a:r>
          <a:endParaRPr lang="hr-HR" sz="1600" kern="1200" dirty="0"/>
        </a:p>
      </dsp:txBody>
      <dsp:txXfrm>
        <a:off x="7487120" y="924567"/>
        <a:ext cx="1301891" cy="1044419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24D97FB-9B76-40E8-8C47-8636874CD520}">
      <dsp:nvSpPr>
        <dsp:cNvPr id="0" name=""/>
        <dsp:cNvSpPr/>
      </dsp:nvSpPr>
      <dsp:spPr>
        <a:xfrm>
          <a:off x="1181086" y="0"/>
          <a:ext cx="3931131" cy="3931131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9B5897-14B1-4996-B0A1-CA5228BA8A1C}">
      <dsp:nvSpPr>
        <dsp:cNvPr id="0" name=""/>
        <dsp:cNvSpPr/>
      </dsp:nvSpPr>
      <dsp:spPr>
        <a:xfrm>
          <a:off x="1576243" y="373457"/>
          <a:ext cx="1533141" cy="153314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Investicijski krediti za MSP u fazi rasta i razvoja</a:t>
          </a:r>
          <a:endParaRPr lang="hr-HR" sz="1600" kern="1200" dirty="0"/>
        </a:p>
      </dsp:txBody>
      <dsp:txXfrm>
        <a:off x="1651085" y="448299"/>
        <a:ext cx="1383457" cy="1383457"/>
      </dsp:txXfrm>
    </dsp:sp>
    <dsp:sp modelId="{AE654CFA-AC3B-4DB1-BC71-104536EE6399}">
      <dsp:nvSpPr>
        <dsp:cNvPr id="0" name=""/>
        <dsp:cNvSpPr/>
      </dsp:nvSpPr>
      <dsp:spPr>
        <a:xfrm>
          <a:off x="3227318" y="373457"/>
          <a:ext cx="1533141" cy="153314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smtClean="0"/>
            <a:t>Kamatna stopa na ESIF udio u financiranju 0%</a:t>
          </a:r>
          <a:endParaRPr lang="hr-HR" sz="1600" kern="1200"/>
        </a:p>
      </dsp:txBody>
      <dsp:txXfrm>
        <a:off x="3302160" y="448299"/>
        <a:ext cx="1383457" cy="1383457"/>
      </dsp:txXfrm>
    </dsp:sp>
    <dsp:sp modelId="{343430A0-8A86-49F0-A679-F206867B567B}">
      <dsp:nvSpPr>
        <dsp:cNvPr id="0" name=""/>
        <dsp:cNvSpPr/>
      </dsp:nvSpPr>
      <dsp:spPr>
        <a:xfrm>
          <a:off x="1576243" y="2024532"/>
          <a:ext cx="1533141" cy="153314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smtClean="0"/>
            <a:t>Rokovi otplate do 12 godina (17 godina u sektoru turizma)</a:t>
          </a:r>
          <a:endParaRPr lang="hr-HR" sz="1600" kern="1200"/>
        </a:p>
      </dsp:txBody>
      <dsp:txXfrm>
        <a:off x="1651085" y="2099374"/>
        <a:ext cx="1383457" cy="1383457"/>
      </dsp:txXfrm>
    </dsp:sp>
    <dsp:sp modelId="{8D0F74BB-6947-4BCF-9E4C-5278E39986E9}">
      <dsp:nvSpPr>
        <dsp:cNvPr id="0" name=""/>
        <dsp:cNvSpPr/>
      </dsp:nvSpPr>
      <dsp:spPr>
        <a:xfrm>
          <a:off x="3227318" y="2024532"/>
          <a:ext cx="1533141" cy="153314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smtClean="0"/>
            <a:t>Iznos kredita od 100.000 EUR do 3mil EUR (10 mil EUR za sektor turizma)</a:t>
          </a:r>
          <a:endParaRPr lang="hr-HR" sz="1600" kern="1200"/>
        </a:p>
      </dsp:txBody>
      <dsp:txXfrm>
        <a:off x="3302160" y="2099374"/>
        <a:ext cx="1383457" cy="138345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422D171-A012-49EC-BC38-93E53162D0DC}">
      <dsp:nvSpPr>
        <dsp:cNvPr id="0" name=""/>
        <dsp:cNvSpPr/>
      </dsp:nvSpPr>
      <dsp:spPr>
        <a:xfrm>
          <a:off x="691972" y="148587"/>
          <a:ext cx="1962218" cy="1287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38100" rIns="106680" bIns="38100" numCol="1" spcCol="1270" anchor="ctr" anchorCtr="0">
          <a:noAutofit/>
        </a:bodyPr>
        <a:lstStyle/>
        <a:p>
          <a:pPr lvl="0" algn="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500" kern="1200" dirty="0" smtClean="0"/>
            <a:t>Model podjele rizika s odabranim bankama (50%:50%) :</a:t>
          </a:r>
          <a:endParaRPr lang="hr-HR" sz="1500" kern="1200" dirty="0"/>
        </a:p>
      </dsp:txBody>
      <dsp:txXfrm>
        <a:off x="691972" y="148587"/>
        <a:ext cx="1962218" cy="1287000"/>
      </dsp:txXfrm>
    </dsp:sp>
    <dsp:sp modelId="{13940533-B030-43AD-8496-9B26604D36E9}">
      <dsp:nvSpPr>
        <dsp:cNvPr id="0" name=""/>
        <dsp:cNvSpPr/>
      </dsp:nvSpPr>
      <dsp:spPr>
        <a:xfrm>
          <a:off x="2654190" y="148587"/>
          <a:ext cx="392443" cy="1287000"/>
        </a:xfrm>
        <a:prstGeom prst="leftBrace">
          <a:avLst>
            <a:gd name="adj1" fmla="val 35000"/>
            <a:gd name="adj2" fmla="val 5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0B8E60-D98A-41E2-8424-70B2F5498FCF}">
      <dsp:nvSpPr>
        <dsp:cNvPr id="0" name=""/>
        <dsp:cNvSpPr/>
      </dsp:nvSpPr>
      <dsp:spPr>
        <a:xfrm>
          <a:off x="3203611" y="148587"/>
          <a:ext cx="3953288" cy="1287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114300" lvl="1" indent="-114300" algn="l" defTabSz="6667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500" kern="1200" smtClean="0"/>
            <a:t>Privredna banka Zagreb d.d.</a:t>
          </a:r>
          <a:endParaRPr lang="hr-HR" sz="1500" kern="1200"/>
        </a:p>
        <a:p>
          <a:pPr marL="114300" lvl="1" indent="-114300" algn="l" defTabSz="6667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500" kern="1200" dirty="0" smtClean="0"/>
            <a:t>Erste &amp; </a:t>
          </a:r>
          <a:r>
            <a:rPr lang="hr-HR" sz="1500" kern="1200" dirty="0" err="1" smtClean="0"/>
            <a:t>Steiermärkische</a:t>
          </a:r>
          <a:r>
            <a:rPr lang="hr-HR" sz="1500" kern="1200" dirty="0" smtClean="0"/>
            <a:t> Bank d.d.  </a:t>
          </a:r>
          <a:endParaRPr lang="hr-HR" sz="1500" kern="1200" dirty="0"/>
        </a:p>
        <a:p>
          <a:pPr marL="114300" lvl="1" indent="-114300" algn="l" defTabSz="6667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500" kern="1200" smtClean="0"/>
            <a:t>Zagrebačka banka d.d. </a:t>
          </a:r>
          <a:endParaRPr lang="hr-HR" sz="1500" kern="1200"/>
        </a:p>
      </dsp:txBody>
      <dsp:txXfrm>
        <a:off x="3203611" y="148587"/>
        <a:ext cx="3953288" cy="1287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exagonCluster">
  <dgm:title val=""/>
  <dgm:desc val=""/>
  <dgm:catLst>
    <dgm:cat type="picture" pri="21000"/>
    <dgm:cat type="relationship" pri="3200"/>
    <dgm:cat type="pictureconvert" pri="2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clrData>
  <dgm:layoutNode name="Name0">
    <dgm:varLst>
      <dgm:chMax val="21"/>
      <dgm:chPref val="21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1.3871"/>
        </dgm:alg>
        <dgm:constrLst>
          <dgm:constr type="primFontSz" for="des" ptType="node" op="equ" val="65"/>
          <dgm:constr type="l" for="ch" forName="text1" refType="w" fact="0.4525"/>
          <dgm:constr type="t" for="ch" forName="text1" refType="h" fact="0.346"/>
          <dgm:constr type="w" for="ch" forName="text1" refType="w" fact="0.5475"/>
          <dgm:constr type="h" for="ch" forName="text1" refType="h" fact="0.654"/>
          <dgm:constr type="l" for="ch" forName="textaccent1" refType="w" fact="0.4652"/>
          <dgm:constr type="t" for="ch" forName="textaccent1" refType="h" fact="0.6348"/>
          <dgm:constr type="w" for="ch" forName="textaccent1" refType="w" fact="0.0639"/>
          <dgm:constr type="h" for="ch" forName="textaccent1" refType="h" fact="0.0765"/>
          <dgm:constr type="l" for="ch" forName="image1" refType="w" fact="0"/>
          <dgm:constr type="t" for="ch" forName="image1" refType="h" fact="0"/>
          <dgm:constr type="w" for="ch" forName="image1" refType="w" fact="0.5468"/>
          <dgm:constr type="h" for="ch" forName="image1" refType="h" fact="0.6538"/>
          <dgm:constr type="l" for="ch" forName="imageaccent1" refType="w" fact="0.3702"/>
          <dgm:constr type="t" for="ch" forName="imageaccent1" refType="h" fact="0.5633"/>
          <dgm:constr type="w" for="ch" forName="imageaccent1" refType="w" fact="0.0639"/>
          <dgm:constr type="h" for="ch" forName="imageaccent1" refType="h" fact="0.0765"/>
        </dgm:constrLst>
      </dgm:if>
      <dgm:if name="Name3" axis="ch" ptType="node" func="cnt" op="equ" val="2">
        <dgm:alg type="composite">
          <dgm:param type="ar" val="2.6443"/>
        </dgm:alg>
        <dgm:constrLst>
          <dgm:constr type="primFontSz" for="des" ptType="node" op="equ" val="65"/>
          <dgm:constr type="l" for="ch" forName="text1" refType="w" fact="0.2383"/>
          <dgm:constr type="t" for="ch" forName="text1" refType="h" fact="0.3501"/>
          <dgm:constr type="w" for="ch" forName="text1" refType="w" fact="0.285"/>
          <dgm:constr type="h" for="ch" forName="text1" refType="h" fact="0.6499"/>
          <dgm:constr type="l" for="ch" forName="textaccent1" refType="w" fact="0.2472"/>
          <dgm:constr type="t" for="ch" forName="textaccent1" refType="h" fact="0.6371"/>
          <dgm:constr type="w" for="ch" forName="textaccent1" refType="w" fact="0.0333"/>
          <dgm:constr type="h" for="ch" forName="textaccent1" refType="h" fact="0.076"/>
          <dgm:constr type="l" for="ch" forName="image1" refType="w" fact="0"/>
          <dgm:constr type="t" for="ch" forName="image1" refType="h" fact="0"/>
          <dgm:constr type="w" for="ch" forName="image1" refType="w" fact="0.285"/>
          <dgm:constr type="h" for="ch" forName="image1" refType="h" fact="0.6499"/>
          <dgm:constr type="l" for="ch" forName="imageaccent1" refType="w" fact="0.1942"/>
          <dgm:constr type="t" for="ch" forName="imageaccent1" refType="h" fact="0.5602"/>
          <dgm:constr type="w" for="ch" forName="imageaccent1" refType="w" fact="0.0333"/>
          <dgm:constr type="h" for="ch" forName="imageaccent1" refType="h" fact="0.076"/>
          <dgm:constr type="l" for="ch" forName="text2" refType="w" fact="0.4767"/>
          <dgm:constr type="t" for="ch" forName="text2" refType="h" fact="0"/>
          <dgm:constr type="w" for="ch" forName="text2" refType="w" fact="0.285"/>
          <dgm:constr type="h" for="ch" forName="text2" refType="h" fact="0.6499"/>
          <dgm:constr type="l" for="ch" forName="textaccent2" refType="w" fact="0.6709"/>
          <dgm:constr type="t" for="ch" forName="textaccent2" refType="h" fact="0.5602"/>
          <dgm:constr type="w" for="ch" forName="textaccent2" refType="w" fact="0.0333"/>
          <dgm:constr type="h" for="ch" forName="textaccent2" refType="h" fact="0.076"/>
          <dgm:constr type="l" for="ch" forName="image2" refType="w" fact="0.715"/>
          <dgm:constr type="t" for="ch" forName="image2" refType="h" fact="0.3501"/>
          <dgm:constr type="w" for="ch" forName="image2" refType="w" fact="0.285"/>
          <dgm:constr type="h" for="ch" forName="image2" refType="h" fact="0.6499"/>
          <dgm:constr type="l" for="ch" forName="imageaccent2" refType="w" fact="0.7239"/>
          <dgm:constr type="t" for="ch" forName="imageaccent2" refType="h" fact="0.6371"/>
          <dgm:constr type="w" for="ch" forName="imageaccent2" refType="w" fact="0.0333"/>
          <dgm:constr type="h" for="ch" forName="imageaccent2" refType="h" fact="0.076"/>
        </dgm:constrLst>
      </dgm:if>
      <dgm:if name="Name4" axis="ch" ptType="node" func="cnt" op="equ" val="3">
        <dgm:alg type="composite">
          <dgm:param type="ar" val="1.5623"/>
        </dgm:alg>
        <dgm:constrLst>
          <dgm:constr type="primFontSz" for="des" ptType="node" op="equ" val="65"/>
          <dgm:constr type="l" for="ch" forName="text1" refType="w" fact="0.2402"/>
          <dgm:constr type="t" for="ch" forName="text1" refType="h" fact="0.6215"/>
          <dgm:constr type="w" for="ch" forName="text1" refType="w" fact="0.281"/>
          <dgm:constr type="h" for="ch" forName="text1" refType="h" fact="0.3785"/>
          <dgm:constr type="l" for="ch" forName="textaccent1" refType="w" fact="0.2475"/>
          <dgm:constr type="t" for="ch" forName="textaccent1" refType="h" fact="0.7886"/>
          <dgm:constr type="w" for="ch" forName="textaccent1" refType="w" fact="0.0329"/>
          <dgm:constr type="h" for="ch" forName="textaccent1" refType="h" fact="0.0443"/>
          <dgm:constr type="l" for="ch" forName="image1" refType="w" fact="0"/>
          <dgm:constr type="t" for="ch" forName="image1" refType="h" fact="0.4182"/>
          <dgm:constr type="w" for="ch" forName="image1" refType="w" fact="0.281"/>
          <dgm:constr type="h" for="ch" forName="image1" refType="h" fact="0.3785"/>
          <dgm:constr type="l" for="ch" forName="imageaccent1" refType="w" fact="0.1913"/>
          <dgm:constr type="t" for="ch" forName="imageaccent1" refType="h" fact="0.7467"/>
          <dgm:constr type="w" for="ch" forName="imageaccent1" refType="w" fact="0.0329"/>
          <dgm:constr type="h" for="ch" forName="imageaccent1" refType="h" fact="0.0443"/>
          <dgm:constr type="l" for="ch" forName="text2" refType="w" fact="0.4796"/>
          <dgm:constr type="t" for="ch" forName="text2" refType="h" fact="0.4137"/>
          <dgm:constr type="w" for="ch" forName="text2" refType="w" fact="0.281"/>
          <dgm:constr type="h" for="ch" forName="text2" refType="h" fact="0.3785"/>
          <dgm:constr type="l" for="ch" forName="textaccent2" refType="w" fact="0.6717"/>
          <dgm:constr type="t" for="ch" forName="textaccent2" refType="h" fact="0.7418"/>
          <dgm:constr type="w" for="ch" forName="textaccent2" refType="w" fact="0.0329"/>
          <dgm:constr type="h" for="ch" forName="textaccent2" refType="h" fact="0.0443"/>
          <dgm:constr type="l" for="ch" forName="image2" refType="w" fact="0.719"/>
          <dgm:constr type="t" for="ch" forName="image2" refType="h" fact="0.6215"/>
          <dgm:constr type="w" for="ch" forName="image2" refType="w" fact="0.281"/>
          <dgm:constr type="h" for="ch" forName="image2" refType="h" fact="0.3785"/>
          <dgm:constr type="l" for="ch" forName="imageaccent2" refType="w" fact="0.7263"/>
          <dgm:constr type="t" for="ch" forName="imageaccent2" refType="h" fact="0.7886"/>
          <dgm:constr type="w" for="ch" forName="imageaccent2" refType="w" fact="0.0329"/>
          <dgm:constr type="h" for="ch" forName="imageaccent2" refType="h" fact="0.0443"/>
          <dgm:constr type="l" for="ch" forName="text3" refType="w" fact="0.2402"/>
          <dgm:constr type="t" for="ch" forName="text3" refType="h" fact="0.2068"/>
          <dgm:constr type="w" for="ch" forName="text3" refType="w" fact="0.281"/>
          <dgm:constr type="h" for="ch" forName="text3" refType="h" fact="0.3785"/>
          <dgm:constr type="l" for="ch" forName="textaccent3" refType="w" fact="0.4307"/>
          <dgm:constr type="t" for="ch" forName="textaccent3" refType="h" fact="0.215"/>
          <dgm:constr type="w" for="ch" forName="textaccent3" refType="w" fact="0.0329"/>
          <dgm:constr type="h" for="ch" forName="textaccent3" refType="h" fact="0.0443"/>
          <dgm:constr type="l" for="ch" forName="image3" refType="w" fact="0.4796"/>
          <dgm:constr type="t" for="ch" forName="image3" refType="h" fact="0"/>
          <dgm:constr type="w" for="ch" forName="image3" refType="w" fact="0.281"/>
          <dgm:constr type="h" for="ch" forName="image3" refType="h" fact="0.3785"/>
          <dgm:constr type="l" for="ch" forName="imageaccent3" refType="w" fact="0.4879"/>
          <dgm:constr type="t" for="ch" forName="imageaccent3" refType="h" fact="0.1662"/>
          <dgm:constr type="w" for="ch" forName="imageaccent3" refType="w" fact="0.0329"/>
          <dgm:constr type="h" for="ch" forName="imageaccent3" refType="h" fact="0.0443"/>
        </dgm:constrLst>
      </dgm:if>
      <dgm:if name="Name5" axis="ch" ptType="node" func="cnt" op="equ" val="4">
        <dgm:alg type="composite">
          <dgm:param type="ar" val="1.943"/>
        </dgm:alg>
        <dgm:constrLst>
          <dgm:constr type="primFontSz" for="des" ptType="node" op="equ" val="65"/>
          <dgm:constr type="l" for="ch" forName="image2" refType="w" fact="0.5787"/>
          <dgm:constr type="t" for="ch" forName="image2" refType="h" fact="0.6208"/>
          <dgm:constr type="w" for="ch" forName="image2" refType="w" fact="0.227"/>
          <dgm:constr type="h" for="ch" forName="image2" refType="h" fact="0.3786"/>
          <dgm:constr type="l" for="ch" forName="text4" refType="w" fact="0.5787"/>
          <dgm:constr type="t" for="ch" forName="text4" refType="h" fact="0.2081"/>
          <dgm:constr type="w" for="ch" forName="text4" refType="w" fact="0.227"/>
          <dgm:constr type="h" for="ch" forName="text4" refType="h" fact="0.3786"/>
          <dgm:constr type="l" for="ch" forName="text2" refType="w" fact="0.3852"/>
          <dgm:constr type="t" for="ch" forName="text2" refType="h" fact="0.4127"/>
          <dgm:constr type="w" for="ch" forName="text2" refType="w" fact="0.227"/>
          <dgm:constr type="h" for="ch" forName="text2" refType="h" fact="0.3786"/>
          <dgm:constr type="l" for="ch" forName="image3" refType="w" fact="0.3852"/>
          <dgm:constr type="t" for="ch" forName="image3" refType="h" fact="0"/>
          <dgm:constr type="w" for="ch" forName="image3" refType="w" fact="0.227"/>
          <dgm:constr type="h" for="ch" forName="image3" refType="h" fact="0.3786"/>
          <dgm:constr type="l" for="ch" forName="text1" refType="w" fact="0.1927"/>
          <dgm:constr type="t" for="ch" forName="text1" refType="h" fact="0.6214"/>
          <dgm:constr type="w" for="ch" forName="text1" refType="w" fact="0.227"/>
          <dgm:constr type="h" for="ch" forName="text1" refType="h" fact="0.3786"/>
          <dgm:constr type="l" for="ch" forName="textaccent1" refType="w" fact="0.1998"/>
          <dgm:constr type="t" for="ch" forName="textaccent1" refType="h" fact="0.7887"/>
          <dgm:constr type="w" for="ch" forName="textaccent1" refType="w" fact="0.0265"/>
          <dgm:constr type="h" for="ch" forName="textaccent1" refType="h" fact="0.0444"/>
          <dgm:constr type="l" for="ch" forName="image1" refType="w" fact="0"/>
          <dgm:constr type="t" for="ch" forName="image1" refType="h" fact="0.4156"/>
          <dgm:constr type="w" for="ch" forName="image1" refType="w" fact="0.227"/>
          <dgm:constr type="h" for="ch" forName="image1" refType="h" fact="0.3786"/>
          <dgm:constr type="l" for="ch" forName="imageaccent1" refType="w" fact="0.1537"/>
          <dgm:constr type="t" for="ch" forName="imageaccent1" refType="h" fact="0.7417"/>
          <dgm:constr type="w" for="ch" forName="imageaccent1" refType="w" fact="0.0265"/>
          <dgm:constr type="h" for="ch" forName="imageaccent1" refType="h" fact="0.0444"/>
          <dgm:constr type="l" for="ch" forName="textaccent2" refType="w" fact="0.5407"/>
          <dgm:constr type="t" for="ch" forName="textaccent2" refType="h" fact="0.7384"/>
          <dgm:constr type="w" for="ch" forName="textaccent2" refType="w" fact="0.0265"/>
          <dgm:constr type="h" for="ch" forName="textaccent2" refType="h" fact="0.0444"/>
          <dgm:constr type="l" for="ch" forName="imageaccent2" refType="w" fact="0.5839"/>
          <dgm:constr type="t" for="ch" forName="imageaccent2" refType="h" fact="0.7904"/>
          <dgm:constr type="w" for="ch" forName="imageaccent2" refType="w" fact="0.0265"/>
          <dgm:constr type="h" for="ch" forName="imageaccent2" refType="h" fact="0.0444"/>
          <dgm:constr type="l" for="ch" forName="text3" refType="w" fact="0.1927"/>
          <dgm:constr type="t" for="ch" forName="text3" refType="h" fact="0.2087"/>
          <dgm:constr type="w" for="ch" forName="text3" refType="w" fact="0.227"/>
          <dgm:constr type="h" for="ch" forName="text3" refType="h" fact="0.3786"/>
          <dgm:constr type="l" for="ch" forName="textaccent3" refType="w" fact="0.3472"/>
          <dgm:constr type="t" for="ch" forName="textaccent3" refType="h" fact="0.2165"/>
          <dgm:constr type="w" for="ch" forName="textaccent3" refType="w" fact="0.0265"/>
          <dgm:constr type="h" for="ch" forName="textaccent3" refType="h" fact="0.0444"/>
          <dgm:constr type="l" for="ch" forName="imageaccent3" refType="w" fact="0.3904"/>
          <dgm:constr type="t" for="ch" forName="imageaccent3" refType="h" fact="0.1678"/>
          <dgm:constr type="w" for="ch" forName="imageaccent3" refType="w" fact="0.0265"/>
          <dgm:constr type="h" for="ch" forName="imageaccent3" refType="h" fact="0.0444"/>
          <dgm:constr type="l" for="ch" forName="textaccent4" refType="w" fact="0.7739"/>
          <dgm:constr type="t" for="ch" forName="textaccent4" refType="h" fact="0.3752"/>
          <dgm:constr type="w" for="ch" forName="textaccent4" refType="w" fact="0.0265"/>
          <dgm:constr type="h" for="ch" forName="textaccent4" refType="h" fact="0.0444"/>
          <dgm:constr type="l" for="ch" forName="image4" refType="w" fact="0.773"/>
          <dgm:constr type="t" for="ch" forName="image4" refType="h" fact="0.4162"/>
          <dgm:constr type="w" for="ch" forName="image4" refType="w" fact="0.227"/>
          <dgm:constr type="h" for="ch" forName="image4" refType="h" fact="0.3786"/>
          <dgm:constr type="l" for="ch" forName="imageaccent4" refType="w" fact="0.8188"/>
          <dgm:constr type="t" for="ch" forName="imageaccent4" refType="h" fact="0.4229"/>
          <dgm:constr type="w" for="ch" forName="imageaccent4" refType="w" fact="0.0265"/>
          <dgm:constr type="h" for="ch" forName="imageaccent4" refType="h" fact="0.0444"/>
        </dgm:constrLst>
      </dgm:if>
      <dgm:if name="Name6" axis="ch" ptType="node" func="cnt" op="equ" val="5">
        <dgm:alg type="composite">
          <dgm:param type="ar" val="2.3203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4193"/>
          <dgm:constr type="w" for="ch" forName="image4" refType="w" fact="0.1886"/>
          <dgm:constr type="h" for="ch" forName="image4" refType="h" fact="0.3757"/>
          <dgm:constr type="l" for="ch" forName="text5" refType="w" fact="0.6491"/>
          <dgm:constr type="t" for="ch" forName="text5" refType="h" fact="0.004"/>
          <dgm:constr type="w" for="ch" forName="text5" refType="w" fact="0.1886"/>
          <dgm:constr type="h" for="ch" forName="text5" refType="h" fact="0.3757"/>
          <dgm:constr type="l" for="ch" forName="image5" refType="w" fact="0.8114"/>
          <dgm:constr type="t" for="ch" forName="image5" refType="h" fact="0.2136"/>
          <dgm:constr type="w" for="ch" forName="image5" refType="w" fact="0.1886"/>
          <dgm:constr type="h" for="ch" forName="image5" refType="h" fact="0.3757"/>
          <dgm:constr type="l" for="ch" forName="image2" refType="w" fact="0.4868"/>
          <dgm:constr type="t" for="ch" forName="image2" refType="h" fact="0.6235"/>
          <dgm:constr type="w" for="ch" forName="image2" refType="w" fact="0.1886"/>
          <dgm:constr type="h" for="ch" forName="image2" refType="h" fact="0.3757"/>
          <dgm:constr type="l" for="ch" forName="text4" refType="w" fact="0.4868"/>
          <dgm:constr type="t" for="ch" forName="text4" refType="h" fact="0.2081"/>
          <dgm:constr type="w" for="ch" forName="text4" refType="w" fact="0.1886"/>
          <dgm:constr type="h" for="ch" forName="text4" refType="h" fact="0.3757"/>
          <dgm:constr type="l" for="ch" forName="text2" refType="w" fact="0.3246"/>
          <dgm:constr type="t" for="ch" forName="text2" refType="h" fact="0.4154"/>
          <dgm:constr type="w" for="ch" forName="text2" refType="w" fact="0.1886"/>
          <dgm:constr type="h" for="ch" forName="text2" refType="h" fact="0.3757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757"/>
          <dgm:constr type="l" for="ch" forName="text1" refType="w" fact="0.1623"/>
          <dgm:constr type="t" for="ch" forName="text1" refType="h" fact="0.6243"/>
          <dgm:constr type="w" for="ch" forName="text1" refType="w" fact="0.1886"/>
          <dgm:constr type="h" for="ch" forName="text1" refType="h" fact="0.3757"/>
          <dgm:constr type="l" for="ch" forName="text3" refType="w" fact="0.1623"/>
          <dgm:constr type="t" for="ch" forName="text3" refType="h" fact="0.2089"/>
          <dgm:constr type="w" for="ch" forName="text3" refType="w" fact="0.1886"/>
          <dgm:constr type="h" for="ch" forName="text3" refType="h" fact="0.3757"/>
          <dgm:constr type="l" for="ch" forName="textaccent1" refType="w" fact="0.1668"/>
          <dgm:constr type="t" for="ch" forName="textaccent1" refType="h" fact="0.7923"/>
          <dgm:constr type="w" for="ch" forName="textaccent1" refType="w" fact="0.022"/>
          <dgm:constr type="h" for="ch" forName="textaccent1" refType="h" fact="0.044"/>
          <dgm:constr type="l" for="ch" forName="image1" refType="w" fact="0"/>
          <dgm:constr type="t" for="ch" forName="image1" refType="h" fact="0.4166"/>
          <dgm:constr type="w" for="ch" forName="image1" refType="w" fact="0.1886"/>
          <dgm:constr type="h" for="ch" forName="image1" refType="h" fact="0.3757"/>
          <dgm:constr type="l" for="ch" forName="imageaccent1" refType="w" fact="0.1292"/>
          <dgm:constr type="t" for="ch" forName="imageaccent1" refType="h" fact="0.7424"/>
          <dgm:constr type="w" for="ch" forName="imageaccent1" refType="w" fact="0.022"/>
          <dgm:constr type="h" for="ch" forName="imageaccent1" refType="h" fact="0.044"/>
          <dgm:constr type="l" for="ch" forName="textaccent2" refType="w" fact="0.4544"/>
          <dgm:constr type="t" for="ch" forName="textaccent2" refType="h" fact="0.7404"/>
          <dgm:constr type="w" for="ch" forName="textaccent2" refType="w" fact="0.022"/>
          <dgm:constr type="h" for="ch" forName="textaccent2" refType="h" fact="0.044"/>
          <dgm:constr type="l" for="ch" forName="imageaccent2" refType="w" fact="0.4914"/>
          <dgm:constr type="t" for="ch" forName="imageaccent2" refType="h" fact="0.7907"/>
          <dgm:constr type="w" for="ch" forName="imageaccent2" refType="w" fact="0.022"/>
          <dgm:constr type="h" for="ch" forName="imageaccent2" refType="h" fact="0.044"/>
          <dgm:constr type="l" for="ch" forName="textaccent3" refType="w" fact="0.2915"/>
          <dgm:constr type="t" for="ch" forName="textaccent3" refType="h" fact="0.216"/>
          <dgm:constr type="w" for="ch" forName="textaccent3" refType="w" fact="0.022"/>
          <dgm:constr type="h" for="ch" forName="textaccent3" refType="h" fact="0.044"/>
          <dgm:constr type="l" for="ch" forName="imageaccent3" refType="w" fact="0.3299"/>
          <dgm:constr type="t" for="ch" forName="imageaccent3" refType="h" fact="0.1665"/>
          <dgm:constr type="w" for="ch" forName="imageaccent3" refType="w" fact="0.022"/>
          <dgm:constr type="h" for="ch" forName="imageaccent3" refType="h" fact="0.044"/>
          <dgm:constr type="l" for="ch" forName="textaccent4" refType="w" fact="0.65"/>
          <dgm:constr type="t" for="ch" forName="textaccent4" refType="h" fact="0.3746"/>
          <dgm:constr type="w" for="ch" forName="textaccent4" refType="w" fact="0.022"/>
          <dgm:constr type="h" for="ch" forName="textaccent4" refType="h" fact="0.044"/>
          <dgm:constr type="l" for="ch" forName="imageaccent4" refType="w" fact="0.6859"/>
          <dgm:constr type="t" for="ch" forName="imageaccent4" refType="h" fact="0.4261"/>
          <dgm:constr type="w" for="ch" forName="imageaccent4" refType="w" fact="0.022"/>
          <dgm:constr type="h" for="ch" forName="imageaccent4" refType="h" fact="0.044"/>
          <dgm:constr type="l" for="ch" forName="textaccent5" refType="w" fact="0.8123"/>
          <dgm:constr type="t" for="ch" forName="textaccent5" refType="h" fact="0.1724"/>
          <dgm:constr type="w" for="ch" forName="textaccent5" refType="w" fact="0.022"/>
          <dgm:constr type="h" for="ch" forName="textaccent5" refType="h" fact="0.044"/>
          <dgm:constr type="l" for="ch" forName="imageaccent5" refType="w" fact="0.849"/>
          <dgm:constr type="t" for="ch" forName="imageaccent5" refType="h" fact="0.222"/>
          <dgm:constr type="w" for="ch" forName="imageaccent5" refType="w" fact="0.022"/>
          <dgm:constr type="h" for="ch" forName="imageaccent5" refType="h" fact="0.044"/>
        </dgm:constrLst>
      </dgm:if>
      <dgm:if name="Name7" axis="ch" ptType="node" func="cnt" op="equ" val="6">
        <dgm:alg type="composite">
          <dgm:param type="ar" val="1.9179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3466"/>
          <dgm:constr type="w" for="ch" forName="image4" refType="w" fact="0.1886"/>
          <dgm:constr type="h" for="ch" forName="image4" refType="h" fact="0.3106"/>
          <dgm:constr type="l" for="ch" forName="text5" refType="w" fact="0.6491"/>
          <dgm:constr type="t" for="ch" forName="text5" refType="h" fact="0.0033"/>
          <dgm:constr type="w" for="ch" forName="text5" refType="w" fact="0.1886"/>
          <dgm:constr type="h" for="ch" forName="text5" refType="h" fact="0.3106"/>
          <dgm:constr type="l" for="ch" forName="image5" refType="w" fact="0.8114"/>
          <dgm:constr type="t" for="ch" forName="image5" refType="h" fact="0.1766"/>
          <dgm:constr type="w" for="ch" forName="image5" refType="w" fact="0.1886"/>
          <dgm:constr type="h" for="ch" forName="image5" refType="h" fact="0.3106"/>
          <dgm:constr type="l" for="ch" forName="image2" refType="w" fact="0.4868"/>
          <dgm:constr type="t" for="ch" forName="image2" refType="h" fact="0.5154"/>
          <dgm:constr type="w" for="ch" forName="image2" refType="w" fact="0.1886"/>
          <dgm:constr type="h" for="ch" forName="image2" refType="h" fact="0.3106"/>
          <dgm:constr type="l" for="ch" forName="text4" refType="w" fact="0.4868"/>
          <dgm:constr type="t" for="ch" forName="text4" refType="h" fact="0.172"/>
          <dgm:constr type="w" for="ch" forName="text4" refType="w" fact="0.1886"/>
          <dgm:constr type="h" for="ch" forName="text4" refType="h" fact="0.3106"/>
          <dgm:constr type="l" for="ch" forName="text2" refType="w" fact="0.3246"/>
          <dgm:constr type="t" for="ch" forName="text2" refType="h" fact="0.3434"/>
          <dgm:constr type="w" for="ch" forName="text2" refType="w" fact="0.1886"/>
          <dgm:constr type="h" for="ch" forName="text2" refType="h" fact="0.3106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106"/>
          <dgm:constr type="l" for="ch" forName="text1" refType="w" fact="0.1623"/>
          <dgm:constr type="t" for="ch" forName="text1" refType="h" fact="0.516"/>
          <dgm:constr type="w" for="ch" forName="text1" refType="w" fact="0.1886"/>
          <dgm:constr type="h" for="ch" forName="text1" refType="h" fact="0.3106"/>
          <dgm:constr type="l" for="ch" forName="text3" refType="w" fact="0.1623"/>
          <dgm:constr type="t" for="ch" forName="text3" refType="h" fact="0.1727"/>
          <dgm:constr type="w" for="ch" forName="text3" refType="w" fact="0.1886"/>
          <dgm:constr type="h" for="ch" forName="text3" refType="h" fact="0.3106"/>
          <dgm:constr type="l" for="ch" forName="textaccent1" refType="w" fact="0.1668"/>
          <dgm:constr type="t" for="ch" forName="textaccent1" refType="h" fact="0.6549"/>
          <dgm:constr type="w" for="ch" forName="textaccent1" refType="w" fact="0.022"/>
          <dgm:constr type="h" for="ch" forName="textaccent1" refType="h" fact="0.0364"/>
          <dgm:constr type="l" for="ch" forName="image1" refType="w" fact="0"/>
          <dgm:constr type="t" for="ch" forName="image1" refType="h" fact="0.3443"/>
          <dgm:constr type="w" for="ch" forName="image1" refType="w" fact="0.1886"/>
          <dgm:constr type="h" for="ch" forName="image1" refType="h" fact="0.3106"/>
          <dgm:constr type="l" for="ch" forName="imageaccent1" refType="w" fact="0.1292"/>
          <dgm:constr type="t" for="ch" forName="imageaccent1" refType="h" fact="0.6137"/>
          <dgm:constr type="w" for="ch" forName="imageaccent1" refType="w" fact="0.022"/>
          <dgm:constr type="h" for="ch" forName="imageaccent1" refType="h" fact="0.0364"/>
          <dgm:constr type="l" for="ch" forName="textaccent2" refType="w" fact="0.4544"/>
          <dgm:constr type="t" for="ch" forName="textaccent2" refType="h" fact="0.612"/>
          <dgm:constr type="w" for="ch" forName="textaccent2" refType="w" fact="0.022"/>
          <dgm:constr type="h" for="ch" forName="textaccent2" refType="h" fact="0.0364"/>
          <dgm:constr type="l" for="ch" forName="imageaccent2" refType="w" fact="0.4914"/>
          <dgm:constr type="t" for="ch" forName="imageaccent2" refType="h" fact="0.6536"/>
          <dgm:constr type="w" for="ch" forName="imageaccent2" refType="w" fact="0.022"/>
          <dgm:constr type="h" for="ch" forName="imageaccent2" refType="h" fact="0.0364"/>
          <dgm:constr type="l" for="ch" forName="textaccent3" refType="w" fact="0.2915"/>
          <dgm:constr type="t" for="ch" forName="textaccent3" refType="h" fact="0.1786"/>
          <dgm:constr type="w" for="ch" forName="textaccent3" refType="w" fact="0.022"/>
          <dgm:constr type="h" for="ch" forName="textaccent3" refType="h" fact="0.0364"/>
          <dgm:constr type="l" for="ch" forName="imageaccent3" refType="w" fact="0.3299"/>
          <dgm:constr type="t" for="ch" forName="imageaccent3" refType="h" fact="0.1376"/>
          <dgm:constr type="w" for="ch" forName="imageaccent3" refType="w" fact="0.022"/>
          <dgm:constr type="h" for="ch" forName="imageaccent3" refType="h" fact="0.0364"/>
          <dgm:constr type="l" for="ch" forName="textaccent4" refType="w" fact="0.65"/>
          <dgm:constr type="t" for="ch" forName="textaccent4" refType="h" fact="0.3096"/>
          <dgm:constr type="w" for="ch" forName="textaccent4" refType="w" fact="0.022"/>
          <dgm:constr type="h" for="ch" forName="textaccent4" refType="h" fact="0.0364"/>
          <dgm:constr type="l" for="ch" forName="imageaccent4" refType="w" fact="0.6859"/>
          <dgm:constr type="t" for="ch" forName="imageaccent4" refType="h" fact="0.3522"/>
          <dgm:constr type="w" for="ch" forName="imageaccent4" refType="w" fact="0.022"/>
          <dgm:constr type="h" for="ch" forName="imageaccent4" refType="h" fact="0.0364"/>
          <dgm:constr type="l" for="ch" forName="textaccent5" refType="w" fact="0.8123"/>
          <dgm:constr type="t" for="ch" forName="textaccent5" refType="h" fact="0.1425"/>
          <dgm:constr type="w" for="ch" forName="textaccent5" refType="w" fact="0.022"/>
          <dgm:constr type="h" for="ch" forName="textaccent5" refType="h" fact="0.0364"/>
          <dgm:constr type="l" for="ch" forName="imageaccent5" refType="w" fact="0.849"/>
          <dgm:constr type="t" for="ch" forName="imageaccent5" refType="h" fact="0.1835"/>
          <dgm:constr type="w" for="ch" forName="imageaccent5" refType="w" fact="0.022"/>
          <dgm:constr type="h" for="ch" forName="imageaccent5" refType="h" fact="0.0364"/>
          <dgm:constr type="l" for="ch" forName="image6" refType="w" fact="0.6491"/>
          <dgm:constr type="t" for="ch" forName="image6" refType="h" fact="0.6894"/>
          <dgm:constr type="w" for="ch" forName="image6" refType="w" fact="0.1886"/>
          <dgm:constr type="h" for="ch" forName="image6" refType="h" fact="0.3106"/>
          <dgm:constr type="l" for="ch" forName="text6" refType="w" fact="0.8114"/>
          <dgm:constr type="t" for="ch" forName="text6" refType="h" fact="0.5194"/>
          <dgm:constr type="w" for="ch" forName="text6" refType="w" fact="0.1886"/>
          <dgm:constr type="h" for="ch" forName="text6" refType="h" fact="0.3106"/>
          <dgm:constr type="l" for="ch" forName="imageaccent6" refType="w" fact="0.8138"/>
          <dgm:constr type="t" for="ch" forName="imageaccent6" refType="h" fact="0.8257"/>
          <dgm:constr type="w" for="ch" forName="imageaccent6" refType="w" fact="0.022"/>
          <dgm:constr type="h" for="ch" forName="imageaccent6" refType="h" fact="0.0364"/>
          <dgm:constr type="l" for="ch" forName="textaccent6" refType="w" fact="0.8488"/>
          <dgm:constr type="t" for="ch" forName="textaccent6" refType="h" fact="0.7914"/>
          <dgm:constr type="w" for="ch" forName="textaccent6" refType="w" fact="0.022"/>
          <dgm:constr type="h" for="ch" forName="textaccent6" refType="h" fact="0.0364"/>
        </dgm:constrLst>
      </dgm:if>
      <dgm:if name="Name8" axis="ch" ptType="node" func="cnt" op="equ" val="7">
        <dgm:alg type="composite">
          <dgm:param type="ar" val="1.6382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2961"/>
          <dgm:constr type="w" for="ch" forName="image4" refType="w" fact="0.1886"/>
          <dgm:constr type="h" for="ch" forName="image4" refType="h" fact="0.2653"/>
          <dgm:constr type="l" for="ch" forName="text5" refType="w" fact="0.6491"/>
          <dgm:constr type="t" for="ch" forName="text5" refType="h" fact="0.0028"/>
          <dgm:constr type="w" for="ch" forName="text5" refType="w" fact="0.1886"/>
          <dgm:constr type="h" for="ch" forName="text5" refType="h" fact="0.2653"/>
          <dgm:constr type="l" for="ch" forName="image5" refType="w" fact="0.8114"/>
          <dgm:constr type="t" for="ch" forName="image5" refType="h" fact="0.1508"/>
          <dgm:constr type="w" for="ch" forName="image5" refType="w" fact="0.1886"/>
          <dgm:constr type="h" for="ch" forName="image5" refType="h" fact="0.2653"/>
          <dgm:constr type="l" for="ch" forName="image2" refType="w" fact="0.4868"/>
          <dgm:constr type="t" for="ch" forName="image2" refType="h" fact="0.4402"/>
          <dgm:constr type="w" for="ch" forName="image2" refType="w" fact="0.1886"/>
          <dgm:constr type="h" for="ch" forName="image2" refType="h" fact="0.2653"/>
          <dgm:constr type="l" for="ch" forName="text4" refType="w" fact="0.4868"/>
          <dgm:constr type="t" for="ch" forName="text4" refType="h" fact="0.1469"/>
          <dgm:constr type="w" for="ch" forName="text4" refType="w" fact="0.1886"/>
          <dgm:constr type="h" for="ch" forName="text4" refType="h" fact="0.2653"/>
          <dgm:constr type="l" for="ch" forName="text2" refType="w" fact="0.3246"/>
          <dgm:constr type="t" for="ch" forName="text2" refType="h" fact="0.2933"/>
          <dgm:constr type="w" for="ch" forName="text2" refType="w" fact="0.1886"/>
          <dgm:constr type="h" for="ch" forName="text2" refType="h" fact="0.2653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2653"/>
          <dgm:constr type="l" for="ch" forName="text1" refType="w" fact="0.1623"/>
          <dgm:constr type="t" for="ch" forName="text1" refType="h" fact="0.4408"/>
          <dgm:constr type="w" for="ch" forName="text1" refType="w" fact="0.1886"/>
          <dgm:constr type="h" for="ch" forName="text1" refType="h" fact="0.2653"/>
          <dgm:constr type="l" for="ch" forName="text3" refType="w" fact="0.1623"/>
          <dgm:constr type="t" for="ch" forName="text3" refType="h" fact="0.1475"/>
          <dgm:constr type="w" for="ch" forName="text3" refType="w" fact="0.1886"/>
          <dgm:constr type="h" for="ch" forName="text3" refType="h" fact="0.2653"/>
          <dgm:constr type="l" for="ch" forName="textaccent1" refType="w" fact="0.1668"/>
          <dgm:constr type="t" for="ch" forName="textaccent1" refType="h" fact="0.5594"/>
          <dgm:constr type="w" for="ch" forName="textaccent1" refType="w" fact="0.022"/>
          <dgm:constr type="h" for="ch" forName="textaccent1" refType="h" fact="0.0311"/>
          <dgm:constr type="l" for="ch" forName="image1" refType="w" fact="0"/>
          <dgm:constr type="t" for="ch" forName="image1" refType="h" fact="0.2941"/>
          <dgm:constr type="w" for="ch" forName="image1" refType="w" fact="0.1886"/>
          <dgm:constr type="h" for="ch" forName="image1" refType="h" fact="0.2653"/>
          <dgm:constr type="l" for="ch" forName="imageaccent1" refType="w" fact="0.1292"/>
          <dgm:constr type="t" for="ch" forName="imageaccent1" refType="h" fact="0.5242"/>
          <dgm:constr type="w" for="ch" forName="imageaccent1" refType="w" fact="0.022"/>
          <dgm:constr type="h" for="ch" forName="imageaccent1" refType="h" fact="0.0311"/>
          <dgm:constr type="l" for="ch" forName="textaccent2" refType="w" fact="0.4544"/>
          <dgm:constr type="t" for="ch" forName="textaccent2" refType="h" fact="0.5228"/>
          <dgm:constr type="w" for="ch" forName="textaccent2" refType="w" fact="0.022"/>
          <dgm:constr type="h" for="ch" forName="textaccent2" refType="h" fact="0.0311"/>
          <dgm:constr type="l" for="ch" forName="imageaccent2" refType="w" fact="0.4914"/>
          <dgm:constr type="t" for="ch" forName="imageaccent2" refType="h" fact="0.5583"/>
          <dgm:constr type="w" for="ch" forName="imageaccent2" refType="w" fact="0.022"/>
          <dgm:constr type="h" for="ch" forName="imageaccent2" refType="h" fact="0.0311"/>
          <dgm:constr type="l" for="ch" forName="textaccent3" refType="w" fact="0.2907"/>
          <dgm:constr type="t" for="ch" forName="textaccent3" refType="h" fact="0.1511"/>
          <dgm:constr type="w" for="ch" forName="textaccent3" refType="w" fact="0.022"/>
          <dgm:constr type="h" for="ch" forName="textaccent3" refType="h" fact="0.0311"/>
          <dgm:constr type="l" for="ch" forName="imageaccent3" refType="w" fact="0.3299"/>
          <dgm:constr type="t" for="ch" forName="imageaccent3" refType="h" fact="0.1175"/>
          <dgm:constr type="w" for="ch" forName="imageaccent3" refType="w" fact="0.022"/>
          <dgm:constr type="h" for="ch" forName="imageaccent3" refType="h" fact="0.0311"/>
          <dgm:constr type="l" for="ch" forName="textaccent4" refType="w" fact="0.65"/>
          <dgm:constr type="t" for="ch" forName="textaccent4" refType="h" fact="0.2645"/>
          <dgm:constr type="w" for="ch" forName="textaccent4" refType="w" fact="0.022"/>
          <dgm:constr type="h" for="ch" forName="textaccent4" refType="h" fact="0.0311"/>
          <dgm:constr type="l" for="ch" forName="imageaccent4" refType="w" fact="0.6859"/>
          <dgm:constr type="t" for="ch" forName="imageaccent4" refType="h" fact="0.3008"/>
          <dgm:constr type="w" for="ch" forName="imageaccent4" refType="w" fact="0.022"/>
          <dgm:constr type="h" for="ch" forName="imageaccent4" refType="h" fact="0.0311"/>
          <dgm:constr type="l" for="ch" forName="textaccent5" refType="w" fact="0.8123"/>
          <dgm:constr type="t" for="ch" forName="textaccent5" refType="h" fact="0.1217"/>
          <dgm:constr type="w" for="ch" forName="textaccent5" refType="w" fact="0.022"/>
          <dgm:constr type="h" for="ch" forName="textaccent5" refType="h" fact="0.0311"/>
          <dgm:constr type="l" for="ch" forName="imageaccent5" refType="w" fact="0.849"/>
          <dgm:constr type="t" for="ch" forName="imageaccent5" refType="h" fact="0.1567"/>
          <dgm:constr type="w" for="ch" forName="imageaccent5" refType="w" fact="0.022"/>
          <dgm:constr type="h" for="ch" forName="imageaccent5" refType="h" fact="0.0311"/>
          <dgm:constr type="l" for="ch" forName="image6" refType="w" fact="0.6491"/>
          <dgm:constr type="t" for="ch" forName="image6" refType="h" fact="0.5889"/>
          <dgm:constr type="w" for="ch" forName="image6" refType="w" fact="0.1886"/>
          <dgm:constr type="h" for="ch" forName="image6" refType="h" fact="0.2653"/>
          <dgm:constr type="l" for="ch" forName="text6" refType="w" fact="0.8114"/>
          <dgm:constr type="t" for="ch" forName="text6" refType="h" fact="0.4436"/>
          <dgm:constr type="w" for="ch" forName="text6" refType="w" fact="0.1886"/>
          <dgm:constr type="h" for="ch" forName="text6" refType="h" fact="0.2653"/>
          <dgm:constr type="l" for="ch" forName="imageaccent6" refType="w" fact="0.8138"/>
          <dgm:constr type="t" for="ch" forName="imageaccent6" refType="h" fact="0.7053"/>
          <dgm:constr type="w" for="ch" forName="imageaccent6" refType="w" fact="0.022"/>
          <dgm:constr type="h" for="ch" forName="imageaccent6" refType="h" fact="0.0311"/>
          <dgm:constr type="l" for="ch" forName="textaccent6" refType="w" fact="0.8488"/>
          <dgm:constr type="t" for="ch" forName="textaccent6" refType="h" fact="0.676"/>
          <dgm:constr type="w" for="ch" forName="textaccent6" refType="w" fact="0.022"/>
          <dgm:constr type="h" for="ch" forName="textaccent6" refType="h" fact="0.0311"/>
          <dgm:constr type="l" for="ch" forName="text7" refType="w" fact="0.3244"/>
          <dgm:constr type="t" for="ch" forName="text7" refType="h" fact="0.5872"/>
          <dgm:constr type="w" for="ch" forName="text7" refType="w" fact="0.1886"/>
          <dgm:constr type="h" for="ch" forName="text7" refType="h" fact="0.2653"/>
          <dgm:constr type="l" for="ch" forName="image7" refType="w" fact="0.1622"/>
          <dgm:constr type="t" for="ch" forName="image7" refType="h" fact="0.7347"/>
          <dgm:constr type="w" for="ch" forName="image7" refType="w" fact="0.1886"/>
          <dgm:constr type="h" for="ch" forName="image7" refType="h" fact="0.2653"/>
          <dgm:constr type="l" for="ch" forName="imageaccent7" refType="w" fact="0.2905"/>
          <dgm:constr type="t" for="ch" forName="imageaccent7" refType="h" fact="0.7384"/>
          <dgm:constr type="w" for="ch" forName="imageaccent7" refType="w" fact="0.022"/>
          <dgm:constr type="h" for="ch" forName="imageaccent7" refType="h" fact="0.0311"/>
          <dgm:constr type="l" for="ch" forName="textaccent7" refType="w" fact="0.3298"/>
          <dgm:constr type="t" for="ch" forName="textaccent7" refType="h" fact="0.7048"/>
          <dgm:constr type="w" for="ch" forName="textaccent7" refType="w" fact="0.022"/>
          <dgm:constr type="h" for="ch" forName="textaccent7" refType="h" fact="0.0311"/>
        </dgm:constrLst>
      </dgm:if>
      <dgm:if name="Name9" axis="ch" ptType="node" func="cnt" op="equ" val="8">
        <dgm:alg type="composite">
          <dgm:param type="ar" val="1.8974"/>
        </dgm:alg>
        <dgm:constrLst>
          <dgm:constr type="primFontSz" for="des" ptType="node" op="equ" val="65"/>
          <dgm:constr type="l" for="ch" forName="image4" refType="w" fact="0.5589"/>
          <dgm:constr type="t" for="ch" forName="image4" refType="h" fact="0.2952"/>
          <dgm:constr type="w" for="ch" forName="image4" refType="w" fact="0.1624"/>
          <dgm:constr type="h" for="ch" forName="image4" refType="h" fact="0.2645"/>
          <dgm:constr type="l" for="ch" forName="text5" refType="w" fact="0.5589"/>
          <dgm:constr type="t" for="ch" forName="text5" refType="h" fact="0.0028"/>
          <dgm:constr type="w" for="ch" forName="text5" refType="w" fact="0.1624"/>
          <dgm:constr type="h" for="ch" forName="text5" refType="h" fact="0.2645"/>
          <dgm:constr type="l" for="ch" forName="image5" refType="w" fact="0.6986"/>
          <dgm:constr type="t" for="ch" forName="image5" refType="h" fact="0.1504"/>
          <dgm:constr type="w" for="ch" forName="image5" refType="w" fact="0.1624"/>
          <dgm:constr type="h" for="ch" forName="image5" refType="h" fact="0.2645"/>
          <dgm:constr type="l" for="ch" forName="image2" refType="w" fact="0.4192"/>
          <dgm:constr type="t" for="ch" forName="image2" refType="h" fact="0.439"/>
          <dgm:constr type="w" for="ch" forName="image2" refType="w" fact="0.1624"/>
          <dgm:constr type="h" for="ch" forName="image2" refType="h" fact="0.2645"/>
          <dgm:constr type="l" for="ch" forName="text4" refType="w" fact="0.4192"/>
          <dgm:constr type="t" for="ch" forName="text4" refType="h" fact="0.1465"/>
          <dgm:constr type="w" for="ch" forName="text4" refType="w" fact="0.1624"/>
          <dgm:constr type="h" for="ch" forName="text4" refType="h" fact="0.2645"/>
          <dgm:constr type="l" for="ch" forName="text2" refType="w" fact="0.2794"/>
          <dgm:constr type="t" for="ch" forName="text2" refType="h" fact="0.2925"/>
          <dgm:constr type="w" for="ch" forName="text2" refType="w" fact="0.1624"/>
          <dgm:constr type="h" for="ch" forName="text2" refType="h" fact="0.2645"/>
          <dgm:constr type="l" for="ch" forName="image3" refType="w" fact="0.2794"/>
          <dgm:constr type="t" for="ch" forName="image3" refType="h" fact="0"/>
          <dgm:constr type="w" for="ch" forName="image3" refType="w" fact="0.1624"/>
          <dgm:constr type="h" for="ch" forName="image3" refType="h" fact="0.2645"/>
          <dgm:constr type="l" for="ch" forName="text1" refType="w" fact="0.1397"/>
          <dgm:constr type="t" for="ch" forName="text1" refType="h" fact="0.4395"/>
          <dgm:constr type="w" for="ch" forName="text1" refType="w" fact="0.1624"/>
          <dgm:constr type="h" for="ch" forName="text1" refType="h" fact="0.2645"/>
          <dgm:constr type="l" for="ch" forName="text3" refType="w" fact="0.1397"/>
          <dgm:constr type="t" for="ch" forName="text3" refType="h" fact="0.1471"/>
          <dgm:constr type="w" for="ch" forName="text3" refType="w" fact="0.1624"/>
          <dgm:constr type="h" for="ch" forName="text3" refType="h" fact="0.2645"/>
          <dgm:constr type="l" for="ch" forName="textaccent1" refType="w" fact="0.1436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4"/>
          <dgm:constr type="h" for="ch" forName="image1" refType="h" fact="0.2645"/>
          <dgm:constr type="l" for="ch" forName="imageaccent1" refType="w" fact="0.1112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2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31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2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41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6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5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93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1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9"/>
          <dgm:constr type="t" for="ch" forName="image6" refType="h" fact="0.5872"/>
          <dgm:constr type="w" for="ch" forName="image6" refType="w" fact="0.1624"/>
          <dgm:constr type="h" for="ch" forName="image6" refType="h" fact="0.2645"/>
          <dgm:constr type="l" for="ch" forName="text6" refType="w" fact="0.6986"/>
          <dgm:constr type="t" for="ch" forName="text6" refType="h" fact="0.4424"/>
          <dgm:constr type="w" for="ch" forName="text6" refType="w" fact="0.1624"/>
          <dgm:constr type="h" for="ch" forName="text6" refType="h" fact="0.2645"/>
          <dgm:constr type="l" for="ch" forName="imageaccent6" refType="w" fact="0.7007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8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3"/>
          <dgm:constr type="t" for="ch" forName="text7" refType="h" fact="0.5856"/>
          <dgm:constr type="w" for="ch" forName="text7" refType="w" fact="0.1624"/>
          <dgm:constr type="h" for="ch" forName="text7" refType="h" fact="0.2645"/>
          <dgm:constr type="l" for="ch" forName="image7" refType="w" fact="0.1396"/>
          <dgm:constr type="t" for="ch" forName="image7" refType="h" fact="0.7326"/>
          <dgm:constr type="w" for="ch" forName="image7" refType="w" fact="0.1624"/>
          <dgm:constr type="h" for="ch" forName="image7" refType="h" fact="0.2645"/>
          <dgm:constr type="l" for="ch" forName="imageaccent7" refType="w" fact="0.2501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4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9"/>
          <dgm:constr type="t" for="ch" forName="image8" refType="h" fact="0.7355"/>
          <dgm:constr type="w" for="ch" forName="image8" refType="w" fact="0.1624"/>
          <dgm:constr type="h" for="ch" forName="image8" refType="h" fact="0.2645"/>
          <dgm:constr type="l" for="ch" forName="text8" refType="w" fact="0.8376"/>
          <dgm:constr type="t" for="ch" forName="text8" refType="h" fact="0.5906"/>
          <dgm:constr type="w" for="ch" forName="text8" refType="w" fact="0.1624"/>
          <dgm:constr type="h" for="ch" forName="text8" refType="h" fact="0.2645"/>
          <dgm:constr type="l" for="ch" forName="imageaccent8" refType="w" fact="0.8397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8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</dgm:constrLst>
      </dgm:if>
      <dgm:if name="Name10" axis="ch" ptType="node" func="cnt" op="equ" val="9">
        <dgm:alg type="composite">
          <dgm:param type="ar" val="1.8986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952"/>
          <dgm:constr type="w" for="ch" forName="image4" refType="w" fact="0.1623"/>
          <dgm:constr type="h" for="ch" forName="image4" refType="h" fact="0.2645"/>
          <dgm:constr type="l" for="ch" forName="text5" refType="w" fact="0.5585"/>
          <dgm:constr type="t" for="ch" forName="text5" refType="h" fact="0.0028"/>
          <dgm:constr type="w" for="ch" forName="text5" refType="w" fact="0.1623"/>
          <dgm:constr type="h" for="ch" forName="text5" refType="h" fact="0.2645"/>
          <dgm:constr type="l" for="ch" forName="image5" refType="w" fact="0.6982"/>
          <dgm:constr type="t" for="ch" forName="image5" refType="h" fact="0.1504"/>
          <dgm:constr type="w" for="ch" forName="image5" refType="w" fact="0.1623"/>
          <dgm:constr type="h" for="ch" forName="image5" refType="h" fact="0.2645"/>
          <dgm:constr type="l" for="ch" forName="image2" refType="w" fact="0.4189"/>
          <dgm:constr type="t" for="ch" forName="image2" refType="h" fact="0.439"/>
          <dgm:constr type="w" for="ch" forName="image2" refType="w" fact="0.1623"/>
          <dgm:constr type="h" for="ch" forName="image2" refType="h" fact="0.2645"/>
          <dgm:constr type="l" for="ch" forName="text4" refType="w" fact="0.4189"/>
          <dgm:constr type="t" for="ch" forName="text4" refType="h" fact="0.1465"/>
          <dgm:constr type="w" for="ch" forName="text4" refType="w" fact="0.1623"/>
          <dgm:constr type="h" for="ch" forName="text4" refType="h" fact="0.2645"/>
          <dgm:constr type="l" for="ch" forName="text2" refType="w" fact="0.2793"/>
          <dgm:constr type="t" for="ch" forName="text2" refType="h" fact="0.2925"/>
          <dgm:constr type="w" for="ch" forName="text2" refType="w" fact="0.1623"/>
          <dgm:constr type="h" for="ch" forName="text2" refType="h" fact="0.2645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645"/>
          <dgm:constr type="l" for="ch" forName="text1" refType="w" fact="0.1396"/>
          <dgm:constr type="t" for="ch" forName="text1" refType="h" fact="0.4395"/>
          <dgm:constr type="w" for="ch" forName="text1" refType="w" fact="0.1623"/>
          <dgm:constr type="h" for="ch" forName="text1" refType="h" fact="0.2645"/>
          <dgm:constr type="l" for="ch" forName="text3" refType="w" fact="0.1396"/>
          <dgm:constr type="t" for="ch" forName="text3" refType="h" fact="0.1471"/>
          <dgm:constr type="w" for="ch" forName="text3" refType="w" fact="0.1623"/>
          <dgm:constr type="h" for="ch" forName="text3" refType="h" fact="0.2645"/>
          <dgm:constr type="l" for="ch" forName="textaccent1" refType="w" fact="0.1435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3"/>
          <dgm:constr type="h" for="ch" forName="image1" refType="h" fact="0.2645"/>
          <dgm:constr type="l" for="ch" forName="imageaccent1" refType="w" fact="0.1111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28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1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39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3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1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89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05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5"/>
          <dgm:constr type="t" for="ch" forName="image6" refType="h" fact="0.5872"/>
          <dgm:constr type="w" for="ch" forName="image6" refType="w" fact="0.1623"/>
          <dgm:constr type="h" for="ch" forName="image6" refType="h" fact="0.2645"/>
          <dgm:constr type="l" for="ch" forName="text6" refType="w" fact="0.6982"/>
          <dgm:constr type="t" for="ch" forName="text6" refType="h" fact="0.4424"/>
          <dgm:constr type="w" for="ch" forName="text6" refType="w" fact="0.1623"/>
          <dgm:constr type="h" for="ch" forName="text6" refType="h" fact="0.2645"/>
          <dgm:constr type="l" for="ch" forName="imageaccent6" refType="w" fact="0.7002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3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2"/>
          <dgm:constr type="t" for="ch" forName="text7" refType="h" fact="0.5856"/>
          <dgm:constr type="w" for="ch" forName="text7" refType="w" fact="0.1623"/>
          <dgm:constr type="h" for="ch" forName="text7" refType="h" fact="0.2645"/>
          <dgm:constr type="l" for="ch" forName="image7" refType="w" fact="0.1395"/>
          <dgm:constr type="t" for="ch" forName="image7" refType="h" fact="0.7326"/>
          <dgm:constr type="w" for="ch" forName="image7" refType="w" fact="0.1623"/>
          <dgm:constr type="h" for="ch" forName="image7" refType="h" fact="0.2645"/>
          <dgm:constr type="l" for="ch" forName="imageaccent7" refType="w" fact="0.25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38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5"/>
          <dgm:constr type="t" for="ch" forName="image8" refType="h" fact="0.7355"/>
          <dgm:constr type="w" for="ch" forName="image8" refType="w" fact="0.1623"/>
          <dgm:constr type="h" for="ch" forName="image8" refType="h" fact="0.2645"/>
          <dgm:constr type="l" for="ch" forName="text8" refType="w" fact="0.8371"/>
          <dgm:constr type="t" for="ch" forName="text8" refType="h" fact="0.5906"/>
          <dgm:constr type="w" for="ch" forName="text8" refType="w" fact="0.1623"/>
          <dgm:constr type="h" for="ch" forName="text8" refType="h" fact="0.2645"/>
          <dgm:constr type="l" for="ch" forName="imageaccent8" refType="w" fact="0.8392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3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  <dgm:constr type="l" for="ch" forName="text9" refType="w" fact="0.8377"/>
          <dgm:constr type="t" for="ch" forName="text9" refType="h" fact="0.0057"/>
          <dgm:constr type="w" for="ch" forName="text9" refType="w" fact="0.1623"/>
          <dgm:constr type="h" for="ch" forName="text9" refType="h" fact="0.2645"/>
          <dgm:constr type="l" for="ch" forName="textaccent9" refType="w" fact="0.95"/>
          <dgm:constr type="t" for="ch" forName="textaccent9" refType="h" fact="0.2383"/>
          <dgm:constr type="w" for="ch" forName="textaccent9" refType="w" fact="0.0189"/>
          <dgm:constr type="h" for="ch" forName="textaccent9" refType="h" fact="0.031"/>
          <dgm:constr type="l" for="ch" forName="image9" refType="w" fact="0.8377"/>
          <dgm:constr type="t" for="ch" forName="image9" refType="h" fact="0.2977"/>
          <dgm:constr type="w" for="ch" forName="image9" refType="w" fact="0.1623"/>
          <dgm:constr type="h" for="ch" forName="image9" refType="h" fact="0.2645"/>
          <dgm:constr type="l" for="ch" forName="imageaccent9" refType="w" fact="0.95"/>
          <dgm:constr type="t" for="ch" forName="imageaccent9" refType="h" fact="0.2993"/>
          <dgm:constr type="w" for="ch" forName="imageaccent9" refType="w" fact="0.0189"/>
          <dgm:constr type="h" for="ch" forName="imageaccent9" refType="h" fact="0.031"/>
        </dgm:constrLst>
      </dgm:if>
      <dgm:if name="Name11" axis="ch" ptType="node" func="cnt" op="equ" val="10">
        <dgm:alg type="composite">
          <dgm:param type="ar" val="1.6608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583"/>
          <dgm:constr type="w" for="ch" forName="image4" refType="w" fact="0.1623"/>
          <dgm:constr type="h" for="ch" forName="image4" refType="h" fact="0.2314"/>
          <dgm:constr type="l" for="ch" forName="text5" refType="w" fact="0.5585"/>
          <dgm:constr type="t" for="ch" forName="text5" refType="h" fact="0.0024"/>
          <dgm:constr type="w" for="ch" forName="text5" refType="w" fact="0.1623"/>
          <dgm:constr type="h" for="ch" forName="text5" refType="h" fact="0.2314"/>
          <dgm:constr type="l" for="ch" forName="image5" refType="w" fact="0.6982"/>
          <dgm:constr type="t" for="ch" forName="image5" refType="h" fact="0.1316"/>
          <dgm:constr type="w" for="ch" forName="image5" refType="w" fact="0.1623"/>
          <dgm:constr type="h" for="ch" forName="image5" refType="h" fact="0.2314"/>
          <dgm:constr type="l" for="ch" forName="image2" refType="w" fact="0.4189"/>
          <dgm:constr type="t" for="ch" forName="image2" refType="h" fact="0.384"/>
          <dgm:constr type="w" for="ch" forName="image2" refType="w" fact="0.1623"/>
          <dgm:constr type="h" for="ch" forName="image2" refType="h" fact="0.2314"/>
          <dgm:constr type="l" for="ch" forName="text4" refType="w" fact="0.4189"/>
          <dgm:constr type="t" for="ch" forName="text4" refType="h" fact="0.1282"/>
          <dgm:constr type="w" for="ch" forName="text4" refType="w" fact="0.1623"/>
          <dgm:constr type="h" for="ch" forName="text4" refType="h" fact="0.2314"/>
          <dgm:constr type="l" for="ch" forName="text2" refType="w" fact="0.2793"/>
          <dgm:constr type="t" for="ch" forName="text2" refType="h" fact="0.2558"/>
          <dgm:constr type="w" for="ch" forName="text2" refType="w" fact="0.1623"/>
          <dgm:constr type="h" for="ch" forName="text2" refType="h" fact="0.2314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314"/>
          <dgm:constr type="l" for="ch" forName="text1" refType="w" fact="0.1396"/>
          <dgm:constr type="t" for="ch" forName="text1" refType="h" fact="0.3845"/>
          <dgm:constr type="w" for="ch" forName="text1" refType="w" fact="0.1623"/>
          <dgm:constr type="h" for="ch" forName="text1" refType="h" fact="0.2314"/>
          <dgm:constr type="l" for="ch" forName="text3" refType="w" fact="0.1396"/>
          <dgm:constr type="t" for="ch" forName="text3" refType="h" fact="0.1286"/>
          <dgm:constr type="w" for="ch" forName="text3" refType="w" fact="0.1623"/>
          <dgm:constr type="h" for="ch" forName="text3" refType="h" fact="0.2314"/>
          <dgm:constr type="l" for="ch" forName="textaccent1" refType="w" fact="0.1435"/>
          <dgm:constr type="t" for="ch" forName="textaccent1" refType="h" fact="0.488"/>
          <dgm:constr type="w" for="ch" forName="textaccent1" refType="w" fact="0.0189"/>
          <dgm:constr type="h" for="ch" forName="textaccent1" refType="h" fact="0.0271"/>
          <dgm:constr type="l" for="ch" forName="image1" refType="w" fact="0"/>
          <dgm:constr type="t" for="ch" forName="image1" refType="h" fact="0.2566"/>
          <dgm:constr type="w" for="ch" forName="image1" refType="w" fact="0.1623"/>
          <dgm:constr type="h" for="ch" forName="image1" refType="h" fact="0.2314"/>
          <dgm:constr type="l" for="ch" forName="imageaccent1" refType="w" fact="0.1111"/>
          <dgm:constr type="t" for="ch" forName="imageaccent1" refType="h" fact="0.4572"/>
          <dgm:constr type="w" for="ch" forName="imageaccent1" refType="w" fact="0.0189"/>
          <dgm:constr type="h" for="ch" forName="imageaccent1" refType="h" fact="0.0271"/>
          <dgm:constr type="l" for="ch" forName="textaccent2" refType="w" fact="0.391"/>
          <dgm:constr type="t" for="ch" forName="textaccent2" refType="h" fact="0.456"/>
          <dgm:constr type="w" for="ch" forName="textaccent2" refType="w" fact="0.0189"/>
          <dgm:constr type="h" for="ch" forName="textaccent2" refType="h" fact="0.0271"/>
          <dgm:constr type="l" for="ch" forName="imageaccent2" refType="w" fact="0.4228"/>
          <dgm:constr type="t" for="ch" forName="imageaccent2" refType="h" fact="0.487"/>
          <dgm:constr type="w" for="ch" forName="imageaccent2" refType="w" fact="0.0189"/>
          <dgm:constr type="h" for="ch" forName="imageaccent2" refType="h" fact="0.0271"/>
          <dgm:constr type="l" for="ch" forName="textaccent3" refType="w" fact="0.2501"/>
          <dgm:constr type="t" for="ch" forName="textaccent3" refType="h" fact="0.1318"/>
          <dgm:constr type="w" for="ch" forName="textaccent3" refType="w" fact="0.0189"/>
          <dgm:constr type="h" for="ch" forName="textaccent3" refType="h" fact="0.0271"/>
          <dgm:constr type="l" for="ch" forName="imageaccent3" refType="w" fact="0.2839"/>
          <dgm:constr type="t" for="ch" forName="imageaccent3" refType="h" fact="0.1025"/>
          <dgm:constr type="w" for="ch" forName="imageaccent3" refType="w" fact="0.0189"/>
          <dgm:constr type="h" for="ch" forName="imageaccent3" refType="h" fact="0.0271"/>
          <dgm:constr type="l" for="ch" forName="textaccent4" refType="w" fact="0.5593"/>
          <dgm:constr type="t" for="ch" forName="textaccent4" refType="h" fact="0.2307"/>
          <dgm:constr type="w" for="ch" forName="textaccent4" refType="w" fact="0.0189"/>
          <dgm:constr type="h" for="ch" forName="textaccent4" refType="h" fact="0.0271"/>
          <dgm:constr type="l" for="ch" forName="imageaccent4" refType="w" fact="0.5901"/>
          <dgm:constr type="t" for="ch" forName="imageaccent4" refType="h" fact="0.2624"/>
          <dgm:constr type="w" for="ch" forName="imageaccent4" refType="w" fact="0.0189"/>
          <dgm:constr type="h" for="ch" forName="imageaccent4" refType="h" fact="0.0271"/>
          <dgm:constr type="l" for="ch" forName="textaccent5" refType="w" fact="0.6989"/>
          <dgm:constr type="t" for="ch" forName="textaccent5" refType="h" fact="0.1062"/>
          <dgm:constr type="w" for="ch" forName="textaccent5" refType="w" fact="0.0189"/>
          <dgm:constr type="h" for="ch" forName="textaccent5" refType="h" fact="0.0271"/>
          <dgm:constr type="l" for="ch" forName="imageaccent5" refType="w" fact="0.7305"/>
          <dgm:constr type="t" for="ch" forName="imageaccent5" refType="h" fact="0.1367"/>
          <dgm:constr type="w" for="ch" forName="imageaccent5" refType="w" fact="0.0189"/>
          <dgm:constr type="h" for="ch" forName="imageaccent5" refType="h" fact="0.0271"/>
          <dgm:constr type="l" for="ch" forName="image6" refType="w" fact="0.5585"/>
          <dgm:constr type="t" for="ch" forName="image6" refType="h" fact="0.5137"/>
          <dgm:constr type="w" for="ch" forName="image6" refType="w" fact="0.1623"/>
          <dgm:constr type="h" for="ch" forName="image6" refType="h" fact="0.2314"/>
          <dgm:constr type="l" for="ch" forName="text6" refType="w" fact="0.6982"/>
          <dgm:constr type="t" for="ch" forName="text6" refType="h" fact="0.387"/>
          <dgm:constr type="w" for="ch" forName="text6" refType="w" fact="0.1623"/>
          <dgm:constr type="h" for="ch" forName="text6" refType="h" fact="0.2314"/>
          <dgm:constr type="l" for="ch" forName="imageaccent6" refType="w" fact="0.7002"/>
          <dgm:constr type="t" for="ch" forName="imageaccent6" refType="h" fact="0.6152"/>
          <dgm:constr type="w" for="ch" forName="imageaccent6" refType="w" fact="0.0189"/>
          <dgm:constr type="h" for="ch" forName="imageaccent6" refType="h" fact="0.0271"/>
          <dgm:constr type="l" for="ch" forName="textaccent6" refType="w" fact="0.7303"/>
          <dgm:constr type="t" for="ch" forName="textaccent6" refType="h" fact="0.5897"/>
          <dgm:constr type="w" for="ch" forName="textaccent6" refType="w" fact="0.0189"/>
          <dgm:constr type="h" for="ch" forName="textaccent6" refType="h" fact="0.0271"/>
          <dgm:constr type="l" for="ch" forName="text7" refType="w" fact="0.2792"/>
          <dgm:constr type="t" for="ch" forName="text7" refType="h" fact="0.5122"/>
          <dgm:constr type="w" for="ch" forName="text7" refType="w" fact="0.1623"/>
          <dgm:constr type="h" for="ch" forName="text7" refType="h" fact="0.2314"/>
          <dgm:constr type="l" for="ch" forName="image7" refType="w" fact="0.1395"/>
          <dgm:constr type="t" for="ch" forName="image7" refType="h" fact="0.6409"/>
          <dgm:constr type="w" for="ch" forName="image7" refType="w" fact="0.1623"/>
          <dgm:constr type="h" for="ch" forName="image7" refType="h" fact="0.2314"/>
          <dgm:constr type="l" for="ch" forName="imageaccent7" refType="w" fact="0.25"/>
          <dgm:constr type="t" for="ch" forName="imageaccent7" refType="h" fact="0.6441"/>
          <dgm:constr type="w" for="ch" forName="imageaccent7" refType="w" fact="0.0189"/>
          <dgm:constr type="h" for="ch" forName="imageaccent7" refType="h" fact="0.0271"/>
          <dgm:constr type="l" for="ch" forName="textaccent7" refType="w" fact="0.2838"/>
          <dgm:constr type="t" for="ch" forName="textaccent7" refType="h" fact="0.6148"/>
          <dgm:constr type="w" for="ch" forName="textaccent7" refType="w" fact="0.0189"/>
          <dgm:constr type="h" for="ch" forName="textaccent7" refType="h" fact="0.0271"/>
          <dgm:constr type="l" for="ch" forName="image8" refType="w" fact="0.6975"/>
          <dgm:constr type="t" for="ch" forName="image8" refType="h" fact="0.6433"/>
          <dgm:constr type="w" for="ch" forName="image8" refType="w" fact="0.1623"/>
          <dgm:constr type="h" for="ch" forName="image8" refType="h" fact="0.2314"/>
          <dgm:constr type="l" for="ch" forName="text8" refType="w" fact="0.8371"/>
          <dgm:constr type="t" for="ch" forName="text8" refType="h" fact="0.5167"/>
          <dgm:constr type="w" for="ch" forName="text8" refType="w" fact="0.1623"/>
          <dgm:constr type="h" for="ch" forName="text8" refType="h" fact="0.2314"/>
          <dgm:constr type="l" for="ch" forName="imageaccent8" refType="w" fact="0.8392"/>
          <dgm:constr type="t" for="ch" forName="imageaccent8" refType="h" fact="0.7449"/>
          <dgm:constr type="w" for="ch" forName="imageaccent8" refType="w" fact="0.0189"/>
          <dgm:constr type="h" for="ch" forName="imageaccent8" refType="h" fact="0.0271"/>
          <dgm:constr type="l" for="ch" forName="textaccent8" refType="w" fact="0.8693"/>
          <dgm:constr type="t" for="ch" forName="textaccent8" refType="h" fact="0.7194"/>
          <dgm:constr type="w" for="ch" forName="textaccent8" refType="w" fact="0.0189"/>
          <dgm:constr type="h" for="ch" forName="textaccent8" refType="h" fact="0.0271"/>
          <dgm:constr type="l" for="ch" forName="text9" refType="w" fact="0.8377"/>
          <dgm:constr type="t" for="ch" forName="text9" refType="h" fact="0.005"/>
          <dgm:constr type="w" for="ch" forName="text9" refType="w" fact="0.1623"/>
          <dgm:constr type="h" for="ch" forName="text9" refType="h" fact="0.2314"/>
          <dgm:constr type="l" for="ch" forName="textaccent9" refType="w" fact="0.95"/>
          <dgm:constr type="t" for="ch" forName="textaccent9" refType="h" fact="0.2084"/>
          <dgm:constr type="w" for="ch" forName="textaccent9" refType="w" fact="0.0189"/>
          <dgm:constr type="h" for="ch" forName="textaccent9" refType="h" fact="0.0271"/>
          <dgm:constr type="l" for="ch" forName="image9" refType="w" fact="0.8377"/>
          <dgm:constr type="t" for="ch" forName="image9" refType="h" fact="0.2604"/>
          <dgm:constr type="w" for="ch" forName="image9" refType="w" fact="0.1623"/>
          <dgm:constr type="h" for="ch" forName="image9" refType="h" fact="0.2314"/>
          <dgm:constr type="l" for="ch" forName="imageaccent9" refType="w" fact="0.95"/>
          <dgm:constr type="t" for="ch" forName="imageaccent9" refType="h" fact="0.2618"/>
          <dgm:constr type="w" for="ch" forName="imageaccent9" refType="w" fact="0.0189"/>
          <dgm:constr type="h" for="ch" forName="imageaccent9" refType="h" fact="0.0271"/>
          <dgm:constr type="l" for="ch" forName="image10" refType="w" fact="0.2786"/>
          <dgm:constr type="t" for="ch" forName="image10" refType="h" fact="0.7686"/>
          <dgm:constr type="w" for="ch" forName="image10" refType="w" fact="0.1623"/>
          <dgm:constr type="h" for="ch" forName="image10" refType="h" fact="0.2314"/>
          <dgm:constr type="l" for="ch" forName="text10" refType="w" fact="0.4183"/>
          <dgm:constr type="t" for="ch" forName="text10" refType="h" fact="0.6419"/>
          <dgm:constr type="w" for="ch" forName="text10" refType="w" fact="0.1623"/>
          <dgm:constr type="h" for="ch" forName="text10" refType="h" fact="0.2314"/>
          <dgm:constr type="l" for="ch" forName="imageaccent10" refType="w" fact="0.4203"/>
          <dgm:constr type="t" for="ch" forName="imageaccent10" refType="h" fact="0.8701"/>
          <dgm:constr type="w" for="ch" forName="imageaccent10" refType="w" fact="0.0189"/>
          <dgm:constr type="h" for="ch" forName="imageaccent10" refType="h" fact="0.0271"/>
          <dgm:constr type="l" for="ch" forName="textaccent10" refType="w" fact="0.4504"/>
          <dgm:constr type="t" for="ch" forName="textaccent10" refType="h" fact="0.8446"/>
          <dgm:constr type="w" for="ch" forName="textaccent10" refType="w" fact="0.0189"/>
          <dgm:constr type="h" for="ch" forName="textaccent10" refType="h" fact="0.0271"/>
        </dgm:constrLst>
      </dgm:if>
      <dgm:if name="Name12" axis="ch" ptType="node" func="cnt" op="equ" val="11">
        <dgm:alg type="composite">
          <dgm:param type="ar" val="1.4704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287"/>
          <dgm:constr type="w" for="ch" forName="image4" refType="w" fact="0.1623"/>
          <dgm:constr type="h" for="ch" forName="image4" refType="h" fact="0.2049"/>
          <dgm:constr type="l" for="ch" forName="text5" refType="w" fact="0.5585"/>
          <dgm:constr type="t" for="ch" forName="text5" refType="h" fact="0.0022"/>
          <dgm:constr type="w" for="ch" forName="text5" refType="w" fact="0.1623"/>
          <dgm:constr type="h" for="ch" forName="text5" refType="h" fact="0.2049"/>
          <dgm:constr type="l" for="ch" forName="image5" refType="w" fact="0.6982"/>
          <dgm:constr type="t" for="ch" forName="image5" refType="h" fact="0.1165"/>
          <dgm:constr type="w" for="ch" forName="image5" refType="w" fact="0.1623"/>
          <dgm:constr type="h" for="ch" forName="image5" refType="h" fact="0.2049"/>
          <dgm:constr type="l" for="ch" forName="image2" refType="w" fact="0.4189"/>
          <dgm:constr type="t" for="ch" forName="image2" refType="h" fact="0.34"/>
          <dgm:constr type="w" for="ch" forName="image2" refType="w" fact="0.1623"/>
          <dgm:constr type="h" for="ch" forName="image2" refType="h" fact="0.2049"/>
          <dgm:constr type="l" for="ch" forName="text4" refType="w" fact="0.4189"/>
          <dgm:constr type="t" for="ch" forName="text4" refType="h" fact="0.1135"/>
          <dgm:constr type="w" for="ch" forName="text4" refType="w" fact="0.1623"/>
          <dgm:constr type="h" for="ch" forName="text4" refType="h" fact="0.2049"/>
          <dgm:constr type="l" for="ch" forName="text2" refType="w" fact="0.2793"/>
          <dgm:constr type="t" for="ch" forName="text2" refType="h" fact="0.2265"/>
          <dgm:constr type="w" for="ch" forName="text2" refType="w" fact="0.1623"/>
          <dgm:constr type="h" for="ch" forName="text2" refType="h" fact="0.2049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049"/>
          <dgm:constr type="l" for="ch" forName="text1" refType="w" fact="0.1396"/>
          <dgm:constr type="t" for="ch" forName="text1" refType="h" fact="0.3404"/>
          <dgm:constr type="w" for="ch" forName="text1" refType="w" fact="0.1623"/>
          <dgm:constr type="h" for="ch" forName="text1" refType="h" fact="0.2049"/>
          <dgm:constr type="l" for="ch" forName="text3" refType="w" fact="0.1396"/>
          <dgm:constr type="t" for="ch" forName="text3" refType="h" fact="0.1139"/>
          <dgm:constr type="w" for="ch" forName="text3" refType="w" fact="0.1623"/>
          <dgm:constr type="h" for="ch" forName="text3" refType="h" fact="0.2049"/>
          <dgm:constr type="l" for="ch" forName="textaccent1" refType="w" fact="0.1435"/>
          <dgm:constr type="t" for="ch" forName="textaccent1" refType="h" fact="0.432"/>
          <dgm:constr type="w" for="ch" forName="textaccent1" refType="w" fact="0.0189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623"/>
          <dgm:constr type="h" for="ch" forName="image1" refType="h" fact="0.2049"/>
          <dgm:constr type="l" for="ch" forName="imageaccent1" refType="w" fact="0.1111"/>
          <dgm:constr type="t" for="ch" forName="imageaccent1" refType="h" fact="0.4048"/>
          <dgm:constr type="w" for="ch" forName="imageaccent1" refType="w" fact="0.0189"/>
          <dgm:constr type="h" for="ch" forName="imageaccent1" refType="h" fact="0.024"/>
          <dgm:constr type="l" for="ch" forName="textaccent2" refType="w" fact="0.391"/>
          <dgm:constr type="t" for="ch" forName="textaccent2" refType="h" fact="0.4038"/>
          <dgm:constr type="w" for="ch" forName="textaccent2" refType="w" fact="0.0189"/>
          <dgm:constr type="h" for="ch" forName="textaccent2" refType="h" fact="0.024"/>
          <dgm:constr type="l" for="ch" forName="imageaccent2" refType="w" fact="0.4228"/>
          <dgm:constr type="t" for="ch" forName="imageaccent2" refType="h" fact="0.4312"/>
          <dgm:constr type="w" for="ch" forName="imageaccent2" refType="w" fact="0.0189"/>
          <dgm:constr type="h" for="ch" forName="imageaccent2" refType="h" fact="0.024"/>
          <dgm:constr type="l" for="ch" forName="textaccent3" refType="w" fact="0.2501"/>
          <dgm:constr type="t" for="ch" forName="textaccent3" refType="h" fact="0.1167"/>
          <dgm:constr type="w" for="ch" forName="textaccent3" refType="w" fact="0.0189"/>
          <dgm:constr type="h" for="ch" forName="textaccent3" refType="h" fact="0.024"/>
          <dgm:constr type="l" for="ch" forName="imageaccent3" refType="w" fact="0.2839"/>
          <dgm:constr type="t" for="ch" forName="imageaccent3" refType="h" fact="0.0908"/>
          <dgm:constr type="w" for="ch" forName="imageaccent3" refType="w" fact="0.0189"/>
          <dgm:constr type="h" for="ch" forName="imageaccent3" refType="h" fact="0.024"/>
          <dgm:constr type="l" for="ch" forName="textaccent4" refType="w" fact="0.5593"/>
          <dgm:constr type="t" for="ch" forName="textaccent4" refType="h" fact="0.2042"/>
          <dgm:constr type="w" for="ch" forName="textaccent4" refType="w" fact="0.0189"/>
          <dgm:constr type="h" for="ch" forName="textaccent4" refType="h" fact="0.024"/>
          <dgm:constr type="l" for="ch" forName="imageaccent4" refType="w" fact="0.5901"/>
          <dgm:constr type="t" for="ch" forName="imageaccent4" refType="h" fact="0.2323"/>
          <dgm:constr type="w" for="ch" forName="imageaccent4" refType="w" fact="0.0189"/>
          <dgm:constr type="h" for="ch" forName="imageaccent4" refType="h" fact="0.024"/>
          <dgm:constr type="l" for="ch" forName="textaccent5" refType="w" fact="0.6989"/>
          <dgm:constr type="t" for="ch" forName="textaccent5" refType="h" fact="0.094"/>
          <dgm:constr type="w" for="ch" forName="textaccent5" refType="w" fact="0.0189"/>
          <dgm:constr type="h" for="ch" forName="textaccent5" refType="h" fact="0.024"/>
          <dgm:constr type="l" for="ch" forName="imageaccent5" refType="w" fact="0.7305"/>
          <dgm:constr type="t" for="ch" forName="imageaccent5" refType="h" fact="0.121"/>
          <dgm:constr type="w" for="ch" forName="imageaccent5" refType="w" fact="0.0189"/>
          <dgm:constr type="h" for="ch" forName="imageaccent5" refType="h" fact="0.024"/>
          <dgm:constr type="l" for="ch" forName="image6" refType="w" fact="0.5585"/>
          <dgm:constr type="t" for="ch" forName="image6" refType="h" fact="0.4548"/>
          <dgm:constr type="w" for="ch" forName="image6" refType="w" fact="0.1623"/>
          <dgm:constr type="h" for="ch" forName="image6" refType="h" fact="0.2049"/>
          <dgm:constr type="l" for="ch" forName="text6" refType="w" fact="0.6982"/>
          <dgm:constr type="t" for="ch" forName="text6" refType="h" fact="0.3426"/>
          <dgm:constr type="w" for="ch" forName="text6" refType="w" fact="0.1623"/>
          <dgm:constr type="h" for="ch" forName="text6" refType="h" fact="0.2049"/>
          <dgm:constr type="l" for="ch" forName="imageaccent6" refType="w" fact="0.7002"/>
          <dgm:constr type="t" for="ch" forName="imageaccent6" refType="h" fact="0.5447"/>
          <dgm:constr type="w" for="ch" forName="imageaccent6" refType="w" fact="0.0189"/>
          <dgm:constr type="h" for="ch" forName="imageaccent6" refType="h" fact="0.024"/>
          <dgm:constr type="l" for="ch" forName="textaccent6" refType="w" fact="0.7303"/>
          <dgm:constr type="t" for="ch" forName="textaccent6" refType="h" fact="0.5221"/>
          <dgm:constr type="w" for="ch" forName="textaccent6" refType="w" fact="0.0189"/>
          <dgm:constr type="h" for="ch" forName="textaccent6" refType="h" fact="0.024"/>
          <dgm:constr type="l" for="ch" forName="text7" refType="w" fact="0.2792"/>
          <dgm:constr type="t" for="ch" forName="text7" refType="h" fact="0.4535"/>
          <dgm:constr type="w" for="ch" forName="text7" refType="w" fact="0.1623"/>
          <dgm:constr type="h" for="ch" forName="text7" refType="h" fact="0.2049"/>
          <dgm:constr type="l" for="ch" forName="image7" refType="w" fact="0.1395"/>
          <dgm:constr type="t" for="ch" forName="image7" refType="h" fact="0.5674"/>
          <dgm:constr type="w" for="ch" forName="image7" refType="w" fact="0.1623"/>
          <dgm:constr type="h" for="ch" forName="image7" refType="h" fact="0.2049"/>
          <dgm:constr type="l" for="ch" forName="imageaccent7" refType="w" fact="0.25"/>
          <dgm:constr type="t" for="ch" forName="imageaccent7" refType="h" fact="0.5703"/>
          <dgm:constr type="w" for="ch" forName="imageaccent7" refType="w" fact="0.0189"/>
          <dgm:constr type="h" for="ch" forName="imageaccent7" refType="h" fact="0.024"/>
          <dgm:constr type="l" for="ch" forName="textaccent7" refType="w" fact="0.2838"/>
          <dgm:constr type="t" for="ch" forName="textaccent7" refType="h" fact="0.5443"/>
          <dgm:constr type="w" for="ch" forName="textaccent7" refType="w" fact="0.0189"/>
          <dgm:constr type="h" for="ch" forName="textaccent7" refType="h" fact="0.024"/>
          <dgm:constr type="l" for="ch" forName="image8" refType="w" fact="0.6975"/>
          <dgm:constr type="t" for="ch" forName="image8" refType="h" fact="0.5696"/>
          <dgm:constr type="w" for="ch" forName="image8" refType="w" fact="0.1623"/>
          <dgm:constr type="h" for="ch" forName="image8" refType="h" fact="0.2049"/>
          <dgm:constr type="l" for="ch" forName="text8" refType="w" fact="0.8371"/>
          <dgm:constr type="t" for="ch" forName="text8" refType="h" fact="0.4574"/>
          <dgm:constr type="w" for="ch" forName="text8" refType="w" fact="0.1623"/>
          <dgm:constr type="h" for="ch" forName="text8" refType="h" fact="0.2049"/>
          <dgm:constr type="l" for="ch" forName="imageaccent8" refType="w" fact="0.8392"/>
          <dgm:constr type="t" for="ch" forName="imageaccent8" refType="h" fact="0.6595"/>
          <dgm:constr type="w" for="ch" forName="imageaccent8" refType="w" fact="0.0189"/>
          <dgm:constr type="h" for="ch" forName="imageaccent8" refType="h" fact="0.024"/>
          <dgm:constr type="l" for="ch" forName="textaccent8" refType="w" fact="0.8693"/>
          <dgm:constr type="t" for="ch" forName="textaccent8" refType="h" fact="0.6369"/>
          <dgm:constr type="w" for="ch" forName="textaccent8" refType="w" fact="0.0189"/>
          <dgm:constr type="h" for="ch" forName="textaccent8" refType="h" fact="0.024"/>
          <dgm:constr type="l" for="ch" forName="text9" refType="w" fact="0.8377"/>
          <dgm:constr type="t" for="ch" forName="text9" refType="h" fact="0.0044"/>
          <dgm:constr type="w" for="ch" forName="text9" refType="w" fact="0.1623"/>
          <dgm:constr type="h" for="ch" forName="text9" refType="h" fact="0.2049"/>
          <dgm:constr type="l" for="ch" forName="textaccent9" refType="w" fact="0.95"/>
          <dgm:constr type="t" for="ch" forName="textaccent9" refType="h" fact="0.1846"/>
          <dgm:constr type="w" for="ch" forName="textaccent9" refType="w" fact="0.0189"/>
          <dgm:constr type="h" for="ch" forName="textaccent9" refType="h" fact="0.024"/>
          <dgm:constr type="l" for="ch" forName="image9" refType="w" fact="0.8377"/>
          <dgm:constr type="t" for="ch" forName="image9" refType="h" fact="0.2306"/>
          <dgm:constr type="w" for="ch" forName="image9" refType="w" fact="0.1623"/>
          <dgm:constr type="h" for="ch" forName="image9" refType="h" fact="0.2049"/>
          <dgm:constr type="l" for="ch" forName="imageaccent9" refType="w" fact="0.95"/>
          <dgm:constr type="t" for="ch" forName="imageaccent9" refType="h" fact="0.2318"/>
          <dgm:constr type="w" for="ch" forName="imageaccent9" refType="w" fact="0.0189"/>
          <dgm:constr type="h" for="ch" forName="imageaccent9" refType="h" fact="0.024"/>
          <dgm:constr type="l" for="ch" forName="image10" refType="w" fact="0.2786"/>
          <dgm:constr type="t" for="ch" forName="image10" refType="h" fact="0.6805"/>
          <dgm:constr type="w" for="ch" forName="image10" refType="w" fact="0.1623"/>
          <dgm:constr type="h" for="ch" forName="image10" refType="h" fact="0.2049"/>
          <dgm:constr type="l" for="ch" forName="text10" refType="w" fact="0.4183"/>
          <dgm:constr type="t" for="ch" forName="text10" refType="h" fact="0.5683"/>
          <dgm:constr type="w" for="ch" forName="text10" refType="w" fact="0.1623"/>
          <dgm:constr type="h" for="ch" forName="text10" refType="h" fact="0.2049"/>
          <dgm:constr type="l" for="ch" forName="imageaccent10" refType="w" fact="0.4203"/>
          <dgm:constr type="t" for="ch" forName="imageaccent10" refType="h" fact="0.7704"/>
          <dgm:constr type="w" for="ch" forName="imageaccent10" refType="w" fact="0.0189"/>
          <dgm:constr type="h" for="ch" forName="imageaccent10" refType="h" fact="0.024"/>
          <dgm:constr type="l" for="ch" forName="textaccent10" refType="w" fact="0.4504"/>
          <dgm:constr type="t" for="ch" forName="textaccent10" refType="h" fact="0.7478"/>
          <dgm:constr type="w" for="ch" forName="textaccent10" refType="w" fact="0.0189"/>
          <dgm:constr type="h" for="ch" forName="textaccent10" refType="h" fact="0.024"/>
          <dgm:constr type="l" for="ch" forName="text11" refType="w" fact="0.6971"/>
          <dgm:constr type="t" for="ch" forName="text11" refType="h" fact="0.7951"/>
          <dgm:constr type="w" for="ch" forName="text11" refType="w" fact="0.1623"/>
          <dgm:constr type="h" for="ch" forName="text11" refType="h" fact="0.2049"/>
          <dgm:constr type="l" for="ch" forName="image11" refType="w" fact="0.5575"/>
          <dgm:constr type="t" for="ch" forName="image11" refType="h" fact="0.6816"/>
          <dgm:constr type="w" for="ch" forName="image11" refType="w" fact="0.1623"/>
          <dgm:constr type="h" for="ch" forName="image11" refType="h" fact="0.2049"/>
          <dgm:constr type="l" for="ch" forName="imageaccent11" refType="w" fact="0.6692"/>
          <dgm:constr type="t" for="ch" forName="imageaccent11" refType="h" fact="0.8589"/>
          <dgm:constr type="w" for="ch" forName="imageaccent11" refType="w" fact="0.0189"/>
          <dgm:constr type="h" for="ch" forName="imageaccent11" refType="h" fact="0.024"/>
          <dgm:constr type="l" for="ch" forName="textaccent11" refType="w" fact="0.701"/>
          <dgm:constr type="t" for="ch" forName="textaccent11" refType="h" fact="0.8863"/>
          <dgm:constr type="w" for="ch" forName="textaccent11" refType="w" fact="0.0189"/>
          <dgm:constr type="h" for="ch" forName="textaccent11" refType="h" fact="0.024"/>
        </dgm:constrLst>
      </dgm:if>
      <dgm:else name="Name13">
        <dgm:alg type="composite">
          <dgm:param type="ar" val="1.675"/>
        </dgm:alg>
        <dgm:constrLst>
          <dgm:constr type="primFontSz" for="des" ptType="node" op="equ" val="65"/>
          <dgm:constr type="l" for="ch" forName="image4" refType="w" fact="0.4903"/>
          <dgm:constr type="t" for="ch" forName="image4" refType="h" fact="0.2287"/>
          <dgm:constr type="w" for="ch" forName="image4" refType="w" fact="0.1425"/>
          <dgm:constr type="h" for="ch" forName="image4" refType="h" fact="0.2049"/>
          <dgm:constr type="l" for="ch" forName="text5" refType="w" fact="0.4903"/>
          <dgm:constr type="t" for="ch" forName="text5" refType="h" fact="0.0022"/>
          <dgm:constr type="w" for="ch" forName="text5" refType="w" fact="0.1425"/>
          <dgm:constr type="h" for="ch" forName="text5" refType="h" fact="0.2049"/>
          <dgm:constr type="l" for="ch" forName="image5" refType="w" fact="0.6129"/>
          <dgm:constr type="t" for="ch" forName="image5" refType="h" fact="0.1165"/>
          <dgm:constr type="w" for="ch" forName="image5" refType="w" fact="0.1425"/>
          <dgm:constr type="h" for="ch" forName="image5" refType="h" fact="0.2049"/>
          <dgm:constr type="l" for="ch" forName="image2" refType="w" fact="0.3677"/>
          <dgm:constr type="t" for="ch" forName="image2" refType="h" fact="0.34"/>
          <dgm:constr type="w" for="ch" forName="image2" refType="w" fact="0.1425"/>
          <dgm:constr type="h" for="ch" forName="image2" refType="h" fact="0.2049"/>
          <dgm:constr type="l" for="ch" forName="text4" refType="w" fact="0.3677"/>
          <dgm:constr type="t" for="ch" forName="text4" refType="h" fact="0.1135"/>
          <dgm:constr type="w" for="ch" forName="text4" refType="w" fact="0.1425"/>
          <dgm:constr type="h" for="ch" forName="text4" refType="h" fact="0.2049"/>
          <dgm:constr type="l" for="ch" forName="text2" refType="w" fact="0.2452"/>
          <dgm:constr type="t" for="ch" forName="text2" refType="h" fact="0.2265"/>
          <dgm:constr type="w" for="ch" forName="text2" refType="w" fact="0.1425"/>
          <dgm:constr type="h" for="ch" forName="text2" refType="h" fact="0.2049"/>
          <dgm:constr type="l" for="ch" forName="image3" refType="w" fact="0.2452"/>
          <dgm:constr type="t" for="ch" forName="image3" refType="h" fact="0"/>
          <dgm:constr type="w" for="ch" forName="image3" refType="w" fact="0.1425"/>
          <dgm:constr type="h" for="ch" forName="image3" refType="h" fact="0.2049"/>
          <dgm:constr type="l" for="ch" forName="text1" refType="w" fact="0.1226"/>
          <dgm:constr type="t" for="ch" forName="text1" refType="h" fact="0.3404"/>
          <dgm:constr type="w" for="ch" forName="text1" refType="w" fact="0.1425"/>
          <dgm:constr type="h" for="ch" forName="text1" refType="h" fact="0.2049"/>
          <dgm:constr type="l" for="ch" forName="text3" refType="w" fact="0.1226"/>
          <dgm:constr type="t" for="ch" forName="text3" refType="h" fact="0.1139"/>
          <dgm:constr type="w" for="ch" forName="text3" refType="w" fact="0.1425"/>
          <dgm:constr type="h" for="ch" forName="text3" refType="h" fact="0.2049"/>
          <dgm:constr type="l" for="ch" forName="textaccent1" refType="w" fact="0.126"/>
          <dgm:constr type="t" for="ch" forName="textaccent1" refType="h" fact="0.432"/>
          <dgm:constr type="w" for="ch" forName="textaccent1" refType="w" fact="0.0166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425"/>
          <dgm:constr type="h" for="ch" forName="image1" refType="h" fact="0.2049"/>
          <dgm:constr type="l" for="ch" forName="imageaccent1" refType="w" fact="0.0976"/>
          <dgm:constr type="t" for="ch" forName="imageaccent1" refType="h" fact="0.4048"/>
          <dgm:constr type="w" for="ch" forName="imageaccent1" refType="w" fact="0.0166"/>
          <dgm:constr type="h" for="ch" forName="imageaccent1" refType="h" fact="0.024"/>
          <dgm:constr type="l" for="ch" forName="textaccent2" refType="w" fact="0.3432"/>
          <dgm:constr type="t" for="ch" forName="textaccent2" refType="h" fact="0.4038"/>
          <dgm:constr type="w" for="ch" forName="textaccent2" refType="w" fact="0.0166"/>
          <dgm:constr type="h" for="ch" forName="textaccent2" refType="h" fact="0.024"/>
          <dgm:constr type="l" for="ch" forName="imageaccent2" refType="w" fact="0.3712"/>
          <dgm:constr type="t" for="ch" forName="imageaccent2" refType="h" fact="0.4312"/>
          <dgm:constr type="w" for="ch" forName="imageaccent2" refType="w" fact="0.0166"/>
          <dgm:constr type="h" for="ch" forName="imageaccent2" refType="h" fact="0.024"/>
          <dgm:constr type="l" for="ch" forName="textaccent3" refType="w" fact="0.2196"/>
          <dgm:constr type="t" for="ch" forName="textaccent3" refType="h" fact="0.1167"/>
          <dgm:constr type="w" for="ch" forName="textaccent3" refType="w" fact="0.0166"/>
          <dgm:constr type="h" for="ch" forName="textaccent3" refType="h" fact="0.024"/>
          <dgm:constr type="l" for="ch" forName="imageaccent3" refType="w" fact="0.2492"/>
          <dgm:constr type="t" for="ch" forName="imageaccent3" refType="h" fact="0.0908"/>
          <dgm:constr type="w" for="ch" forName="imageaccent3" refType="w" fact="0.0166"/>
          <dgm:constr type="h" for="ch" forName="imageaccent3" refType="h" fact="0.024"/>
          <dgm:constr type="l" for="ch" forName="textaccent4" refType="w" fact="0.491"/>
          <dgm:constr type="t" for="ch" forName="textaccent4" refType="h" fact="0.2042"/>
          <dgm:constr type="w" for="ch" forName="textaccent4" refType="w" fact="0.0166"/>
          <dgm:constr type="h" for="ch" forName="textaccent4" refType="h" fact="0.024"/>
          <dgm:constr type="l" for="ch" forName="imageaccent4" refType="w" fact="0.5181"/>
          <dgm:constr type="t" for="ch" forName="imageaccent4" refType="h" fact="0.2323"/>
          <dgm:constr type="w" for="ch" forName="imageaccent4" refType="w" fact="0.0166"/>
          <dgm:constr type="h" for="ch" forName="imageaccent4" refType="h" fact="0.024"/>
          <dgm:constr type="l" for="ch" forName="textaccent5" refType="w" fact="0.6136"/>
          <dgm:constr type="t" for="ch" forName="textaccent5" refType="h" fact="0.094"/>
          <dgm:constr type="w" for="ch" forName="textaccent5" refType="w" fact="0.0166"/>
          <dgm:constr type="h" for="ch" forName="textaccent5" refType="h" fact="0.024"/>
          <dgm:constr type="l" for="ch" forName="imageaccent5" refType="w" fact="0.6413"/>
          <dgm:constr type="t" for="ch" forName="imageaccent5" refType="h" fact="0.121"/>
          <dgm:constr type="w" for="ch" forName="imageaccent5" refType="w" fact="0.0166"/>
          <dgm:constr type="h" for="ch" forName="imageaccent5" refType="h" fact="0.024"/>
          <dgm:constr type="l" for="ch" forName="image6" refType="w" fact="0.4903"/>
          <dgm:constr type="t" for="ch" forName="image6" refType="h" fact="0.4548"/>
          <dgm:constr type="w" for="ch" forName="image6" refType="w" fact="0.1425"/>
          <dgm:constr type="h" for="ch" forName="image6" refType="h" fact="0.2049"/>
          <dgm:constr type="l" for="ch" forName="text6" refType="w" fact="0.6129"/>
          <dgm:constr type="t" for="ch" forName="text6" refType="h" fact="0.3426"/>
          <dgm:constr type="w" for="ch" forName="text6" refType="w" fact="0.1425"/>
          <dgm:constr type="h" for="ch" forName="text6" refType="h" fact="0.2049"/>
          <dgm:constr type="l" for="ch" forName="imageaccent6" refType="w" fact="0.6147"/>
          <dgm:constr type="t" for="ch" forName="imageaccent6" refType="h" fact="0.5447"/>
          <dgm:constr type="w" for="ch" forName="imageaccent6" refType="w" fact="0.0166"/>
          <dgm:constr type="h" for="ch" forName="imageaccent6" refType="h" fact="0.024"/>
          <dgm:constr type="l" for="ch" forName="textaccent6" refType="w" fact="0.6411"/>
          <dgm:constr type="t" for="ch" forName="textaccent6" refType="h" fact="0.5221"/>
          <dgm:constr type="w" for="ch" forName="textaccent6" refType="w" fact="0.0166"/>
          <dgm:constr type="h" for="ch" forName="textaccent6" refType="h" fact="0.024"/>
          <dgm:constr type="l" for="ch" forName="text7" refType="w" fact="0.2451"/>
          <dgm:constr type="t" for="ch" forName="text7" refType="h" fact="0.4535"/>
          <dgm:constr type="w" for="ch" forName="text7" refType="w" fact="0.1425"/>
          <dgm:constr type="h" for="ch" forName="text7" refType="h" fact="0.2049"/>
          <dgm:constr type="l" for="ch" forName="image7" refType="w" fact="0.1225"/>
          <dgm:constr type="t" for="ch" forName="image7" refType="h" fact="0.5674"/>
          <dgm:constr type="w" for="ch" forName="image7" refType="w" fact="0.1425"/>
          <dgm:constr type="h" for="ch" forName="image7" refType="h" fact="0.2049"/>
          <dgm:constr type="l" for="ch" forName="imageaccent7" refType="w" fact="0.2195"/>
          <dgm:constr type="t" for="ch" forName="imageaccent7" refType="h" fact="0.5703"/>
          <dgm:constr type="w" for="ch" forName="imageaccent7" refType="w" fact="0.0166"/>
          <dgm:constr type="h" for="ch" forName="imageaccent7" refType="h" fact="0.024"/>
          <dgm:constr type="l" for="ch" forName="textaccent7" refType="w" fact="0.2491"/>
          <dgm:constr type="t" for="ch" forName="textaccent7" refType="h" fact="0.5443"/>
          <dgm:constr type="w" for="ch" forName="textaccent7" refType="w" fact="0.0166"/>
          <dgm:constr type="h" for="ch" forName="textaccent7" refType="h" fact="0.024"/>
          <dgm:constr type="l" for="ch" forName="image8" refType="w" fact="0.6123"/>
          <dgm:constr type="t" for="ch" forName="image8" refType="h" fact="0.5696"/>
          <dgm:constr type="w" for="ch" forName="image8" refType="w" fact="0.1425"/>
          <dgm:constr type="h" for="ch" forName="image8" refType="h" fact="0.2049"/>
          <dgm:constr type="l" for="ch" forName="text8" refType="w" fact="0.7349"/>
          <dgm:constr type="t" for="ch" forName="text8" refType="h" fact="0.4574"/>
          <dgm:constr type="w" for="ch" forName="text8" refType="w" fact="0.1425"/>
          <dgm:constr type="h" for="ch" forName="text8" refType="h" fact="0.2049"/>
          <dgm:constr type="l" for="ch" forName="imageaccent8" refType="w" fact="0.7367"/>
          <dgm:constr type="t" for="ch" forName="imageaccent8" refType="h" fact="0.6595"/>
          <dgm:constr type="w" for="ch" forName="imageaccent8" refType="w" fact="0.0166"/>
          <dgm:constr type="h" for="ch" forName="imageaccent8" refType="h" fact="0.024"/>
          <dgm:constr type="l" for="ch" forName="textaccent8" refType="w" fact="0.7631"/>
          <dgm:constr type="t" for="ch" forName="textaccent8" refType="h" fact="0.6369"/>
          <dgm:constr type="w" for="ch" forName="textaccent8" refType="w" fact="0.0166"/>
          <dgm:constr type="h" for="ch" forName="textaccent8" refType="h" fact="0.024"/>
          <dgm:constr type="l" for="ch" forName="text9" refType="w" fact="0.7354"/>
          <dgm:constr type="t" for="ch" forName="text9" refType="h" fact="0.0044"/>
          <dgm:constr type="w" for="ch" forName="text9" refType="w" fact="0.1425"/>
          <dgm:constr type="h" for="ch" forName="text9" refType="h" fact="0.2049"/>
          <dgm:constr type="l" for="ch" forName="textaccent9" refType="w" fact="0.8339"/>
          <dgm:constr type="t" for="ch" forName="textaccent9" refType="h" fact="0.1846"/>
          <dgm:constr type="w" for="ch" forName="textaccent9" refType="w" fact="0.0166"/>
          <dgm:constr type="h" for="ch" forName="textaccent9" refType="h" fact="0.024"/>
          <dgm:constr type="l" for="ch" forName="image9" refType="w" fact="0.7354"/>
          <dgm:constr type="t" for="ch" forName="image9" refType="h" fact="0.2306"/>
          <dgm:constr type="w" for="ch" forName="image9" refType="w" fact="0.1425"/>
          <dgm:constr type="h" for="ch" forName="image9" refType="h" fact="0.2049"/>
          <dgm:constr type="l" for="ch" forName="imageaccent9" refType="w" fact="0.8339"/>
          <dgm:constr type="t" for="ch" forName="imageaccent9" refType="h" fact="0.2318"/>
          <dgm:constr type="w" for="ch" forName="imageaccent9" refType="w" fact="0.0166"/>
          <dgm:constr type="h" for="ch" forName="imageaccent9" refType="h" fact="0.024"/>
          <dgm:constr type="l" for="ch" forName="image10" refType="w" fact="0.2446"/>
          <dgm:constr type="t" for="ch" forName="image10" refType="h" fact="0.6805"/>
          <dgm:constr type="w" for="ch" forName="image10" refType="w" fact="0.1425"/>
          <dgm:constr type="h" for="ch" forName="image10" refType="h" fact="0.2049"/>
          <dgm:constr type="l" for="ch" forName="text10" refType="w" fact="0.3672"/>
          <dgm:constr type="t" for="ch" forName="text10" refType="h" fact="0.5683"/>
          <dgm:constr type="w" for="ch" forName="text10" refType="w" fact="0.1425"/>
          <dgm:constr type="h" for="ch" forName="text10" refType="h" fact="0.2049"/>
          <dgm:constr type="l" for="ch" forName="imageaccent10" refType="w" fact="0.369"/>
          <dgm:constr type="t" for="ch" forName="imageaccent10" refType="h" fact="0.7704"/>
          <dgm:constr type="w" for="ch" forName="imageaccent10" refType="w" fact="0.0166"/>
          <dgm:constr type="h" for="ch" forName="imageaccent10" refType="h" fact="0.024"/>
          <dgm:constr type="l" for="ch" forName="textaccent10" refType="w" fact="0.3954"/>
          <dgm:constr type="t" for="ch" forName="textaccent10" refType="h" fact="0.7478"/>
          <dgm:constr type="w" for="ch" forName="textaccent10" refType="w" fact="0.0166"/>
          <dgm:constr type="h" for="ch" forName="textaccent10" refType="h" fact="0.024"/>
          <dgm:constr type="l" for="ch" forName="text11" refType="w" fact="0.612"/>
          <dgm:constr type="t" for="ch" forName="text11" refType="h" fact="0.7951"/>
          <dgm:constr type="w" for="ch" forName="text11" refType="w" fact="0.1425"/>
          <dgm:constr type="h" for="ch" forName="text11" refType="h" fact="0.2049"/>
          <dgm:constr type="l" for="ch" forName="image11" refType="w" fact="0.4894"/>
          <dgm:constr type="t" for="ch" forName="image11" refType="h" fact="0.6816"/>
          <dgm:constr type="w" for="ch" forName="image11" refType="w" fact="0.1425"/>
          <dgm:constr type="h" for="ch" forName="image11" refType="h" fact="0.2049"/>
          <dgm:constr type="l" for="ch" forName="imageaccent11" refType="w" fact="0.5874"/>
          <dgm:constr type="t" for="ch" forName="imageaccent11" refType="h" fact="0.8589"/>
          <dgm:constr type="w" for="ch" forName="imageaccent11" refType="w" fact="0.0166"/>
          <dgm:constr type="h" for="ch" forName="imageaccent11" refType="h" fact="0.024"/>
          <dgm:constr type="l" for="ch" forName="textaccent11" refType="w" fact="0.6154"/>
          <dgm:constr type="t" for="ch" forName="textaccent11" refType="h" fact="0.8863"/>
          <dgm:constr type="w" for="ch" forName="textaccent11" refType="w" fact="0.0166"/>
          <dgm:constr type="h" for="ch" forName="textaccent11" refType="h" fact="0.024"/>
          <dgm:constr type="l" for="ch" forName="text12" refType="w" fact="0.735"/>
          <dgm:constr type="t" for="ch" forName="text12" refType="h" fact="0.684"/>
          <dgm:constr type="w" for="ch" forName="text12" refType="w" fact="0.1425"/>
          <dgm:constr type="h" for="ch" forName="text12" refType="h" fact="0.2049"/>
          <dgm:constr type="l" for="ch" forName="image12" refType="w" fact="0.8575"/>
          <dgm:constr type="t" for="ch" forName="image12" refType="h" fact="0.5718"/>
          <dgm:constr type="w" for="ch" forName="image12" refType="w" fact="0.1425"/>
          <dgm:constr type="h" for="ch" forName="image12" refType="h" fact="0.2049"/>
          <dgm:constr type="l" for="ch" forName="textaccent12" refType="w" fact="0.8594"/>
          <dgm:constr type="t" for="ch" forName="textaccent12" refType="h" fact="0.7739"/>
          <dgm:constr type="w" for="ch" forName="textaccent12" refType="w" fact="0.0166"/>
          <dgm:constr type="h" for="ch" forName="textaccent12" refType="h" fact="0.024"/>
          <dgm:constr type="l" for="ch" forName="imageaccent12" refType="w" fact="0.8858"/>
          <dgm:constr type="t" for="ch" forName="imageaccent12" refType="h" fact="0.7513"/>
          <dgm:constr type="w" for="ch" forName="imageaccent12" refType="w" fact="0.0166"/>
          <dgm:constr type="h" for="ch" forName="imageaccent12" refType="h" fact="0.024"/>
        </dgm:constrLst>
      </dgm:else>
    </dgm:choose>
    <dgm:forEach name="wrapper" axis="self" ptType="parTrans">
      <dgm:forEach name="wrapper2" axis="self" ptType="sibTrans" st="2">
        <dgm:forEach name="textRepeat" axis="self">
          <dgm:layoutNode name="textRepeatNode" styleLbl="alignNode1">
            <dgm:varLst>
              <dgm:chMax val="0"/>
              <dgm:chPref val="0"/>
              <dgm:bulletEnabled val="1"/>
            </dgm:varLst>
            <dgm:alg type="tx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.1"/>
              <dgm:constr type="bMarg" refType="primFontSz" fact="0.1"/>
            </dgm:constrLst>
            <dgm:ruleLst>
              <dgm:rule type="primFontSz" val="5" fact="NaN" max="NaN"/>
            </dgm:ruleLst>
          </dgm:layoutNode>
        </dgm:forEach>
        <dgm:forEach name="accentRepeat" axis="self">
          <dgm:layoutNode name="accentRepeatNode" styleLbl="solidAlignAcc1">
            <dgm:alg type="sp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/>
          </dgm:layoutNode>
        </dgm:forEach>
        <dgm:forEach name="imageRepeat" axis="self">
          <dgm:layoutNode name="imageRepeatNode" styleLbl="alignAcc1">
            <dgm:alg type="sp"/>
            <dgm:shape xmlns:r="http://schemas.openxmlformats.org/officeDocument/2006/relationships" type="hexagon" r:blip="" blipPhldr="1">
              <dgm:adjLst>
                <dgm:adj idx="1" val="0.25"/>
                <dgm:adj idx="2" val="1.1547"/>
              </dgm:adjLst>
            </dgm:shape>
            <dgm:presOf axis="self"/>
          </dgm:layoutNode>
        </dgm:forEach>
      </dgm:forEach>
    </dgm:forEach>
    <dgm:forEach name="Name14" axis="ch" ptType="node" cnt="1">
      <dgm:layoutNode name="text1">
        <dgm:alg type="sp"/>
        <dgm:shape xmlns:r="http://schemas.openxmlformats.org/officeDocument/2006/relationships" r:blip="">
          <dgm:adjLst/>
        </dgm:shape>
        <dgm:presOf/>
        <dgm:constrLst/>
        <dgm:forEach name="Name15" ref="textRepeat"/>
      </dgm:layoutNode>
      <dgm:layoutNode name="textaccent1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"/>
      </dgm:layoutNode>
    </dgm:forEach>
    <dgm:forEach name="Name17" axis="ch" ptType="sibTrans" hideLastTrans="0" cnt="1">
      <dgm:layoutNode name="image1">
        <dgm:alg type="sp"/>
        <dgm:shape xmlns:r="http://schemas.openxmlformats.org/officeDocument/2006/relationships" r:blip="">
          <dgm:adjLst/>
        </dgm:shape>
        <dgm:presOf/>
        <dgm:constrLst/>
        <dgm:forEach name="Name18" ref="imageRepeat"/>
      </dgm:layoutNode>
      <dgm:layoutNode name="imageaccent1">
        <dgm:alg type="sp"/>
        <dgm:shape xmlns:r="http://schemas.openxmlformats.org/officeDocument/2006/relationships" r:blip="">
          <dgm:adjLst/>
        </dgm:shape>
        <dgm:presOf/>
        <dgm:constrLst/>
        <dgm:forEach name="Name19" ref="accentRepeat"/>
      </dgm:layoutNode>
    </dgm:forEach>
    <dgm:forEach name="Name20" axis="ch" ptType="node" st="2" cnt="1">
      <dgm:layoutNode name="text2">
        <dgm:alg type="sp"/>
        <dgm:shape xmlns:r="http://schemas.openxmlformats.org/officeDocument/2006/relationships" r:blip="">
          <dgm:adjLst/>
        </dgm:shape>
        <dgm:presOf/>
        <dgm:constrLst/>
        <dgm:forEach name="Name21" ref="textRepeat"/>
      </dgm:layoutNode>
      <dgm:layoutNode name="textaccent2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"/>
      </dgm:layoutNode>
    </dgm:forEach>
    <dgm:forEach name="Name23" axis="ch" ptType="sibTrans" hideLastTrans="0" st="2" cnt="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24" ref="imageRepeat"/>
      </dgm:layoutNode>
      <dgm:layoutNode name="imageaccent2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"/>
      </dgm:layoutNode>
    </dgm:forEach>
    <dgm:forEach name="Name26" axis="ch" ptType="node" st="3" cnt="1">
      <dgm:layoutNode name="text3">
        <dgm:alg type="sp"/>
        <dgm:shape xmlns:r="http://schemas.openxmlformats.org/officeDocument/2006/relationships" r:blip="">
          <dgm:adjLst/>
        </dgm:shape>
        <dgm:presOf/>
        <dgm:constrLst/>
        <dgm:forEach name="Name27" ref="textRepeat"/>
      </dgm:layoutNode>
      <dgm:layoutNode name="textaccent3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</dgm:forEach>
    <dgm:forEach name="Name29" axis="ch" ptType="sibTrans" hideLastTrans="0" st="3" cnt="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30" ref="imageRepeat"/>
      </dgm:layoutNode>
      <dgm:layoutNode name="imageaccent3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4" cnt="1">
      <dgm:layoutNode name="text4">
        <dgm:alg type="sp"/>
        <dgm:shape xmlns:r="http://schemas.openxmlformats.org/officeDocument/2006/relationships" r:blip="">
          <dgm:adjLst/>
        </dgm:shape>
        <dgm:presOf/>
        <dgm:constrLst/>
        <dgm:forEach name="Name33" ref="textRepeat"/>
      </dgm:layoutNode>
      <dgm:layoutNode name="textaccent4">
        <dgm:alg type="sp"/>
        <dgm:shape xmlns:r="http://schemas.openxmlformats.org/officeDocument/2006/relationships" r:blip="">
          <dgm:adjLst/>
        </dgm:shape>
        <dgm:presOf/>
        <dgm:constrLst/>
        <dgm:forEach name="Name34" ref="accentRepeat"/>
      </dgm:layoutNode>
    </dgm:forEach>
    <dgm:forEach name="Name35" axis="ch" ptType="sibTrans" hideLastTrans="0" st="4" cnt="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36" ref="imageRepeat"/>
      </dgm:layoutNode>
      <dgm:layoutNode name="imageaccent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text5">
        <dgm:alg type="sp"/>
        <dgm:shape xmlns:r="http://schemas.openxmlformats.org/officeDocument/2006/relationships" r:blip="">
          <dgm:adjLst/>
        </dgm:shape>
        <dgm:presOf/>
        <dgm:constrLst/>
        <dgm:forEach name="Name39" ref="textRepeat"/>
      </dgm:layoutNode>
      <dgm:layoutNode name="text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</dgm:forEach>
    <dgm:forEach name="Name41" axis="ch" ptType="sibTrans" hideLastTrans="0" st="5" cnt="1">
      <dgm:layoutNode name="image5">
        <dgm:alg type="sp"/>
        <dgm:shape xmlns:r="http://schemas.openxmlformats.org/officeDocument/2006/relationships" r:blip="">
          <dgm:adjLst/>
        </dgm:shape>
        <dgm:presOf/>
        <dgm:constrLst/>
        <dgm:forEach name="Name42" ref="imageRepeat"/>
      </dgm:layoutNode>
      <dgm:layoutNode name="imageaccent5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  <dgm:forEach name="Name44" axis="ch" ptType="node" st="6" cnt="1">
      <dgm:layoutNode name="text6">
        <dgm:alg type="sp"/>
        <dgm:shape xmlns:r="http://schemas.openxmlformats.org/officeDocument/2006/relationships" r:blip="">
          <dgm:adjLst/>
        </dgm:shape>
        <dgm:presOf/>
        <dgm:constrLst/>
        <dgm:forEach name="Name45" ref="textRepeat"/>
      </dgm:layoutNode>
      <dgm:layoutNode name="textaccent6">
        <dgm:alg type="sp"/>
        <dgm:shape xmlns:r="http://schemas.openxmlformats.org/officeDocument/2006/relationships" r:blip="">
          <dgm:adjLst/>
        </dgm:shape>
        <dgm:presOf/>
        <dgm:constrLst/>
        <dgm:forEach name="Name46" ref="accentRepeat"/>
      </dgm:layoutNode>
    </dgm:forEach>
    <dgm:forEach name="Name47" axis="ch" ptType="sibTrans" hideLastTrans="0" st="6" cnt="1">
      <dgm:layoutNode name="image6">
        <dgm:alg type="sp"/>
        <dgm:shape xmlns:r="http://schemas.openxmlformats.org/officeDocument/2006/relationships" r:blip="">
          <dgm:adjLst/>
        </dgm:shape>
        <dgm:presOf/>
        <dgm:constrLst/>
        <dgm:forEach name="Name48" ref="imageRepeat"/>
      </dgm:layoutNode>
      <dgm:layoutNode name="imageaccent6">
        <dgm:alg type="sp"/>
        <dgm:shape xmlns:r="http://schemas.openxmlformats.org/officeDocument/2006/relationships" r:blip="">
          <dgm:adjLst/>
        </dgm:shape>
        <dgm:presOf/>
        <dgm:constrLst/>
        <dgm:forEach name="Name49" ref="accentRepeat"/>
      </dgm:layoutNode>
    </dgm:forEach>
    <dgm:forEach name="Name50" axis="ch" ptType="node" st="7" cnt="1">
      <dgm:layoutNode name="text7">
        <dgm:alg type="sp"/>
        <dgm:shape xmlns:r="http://schemas.openxmlformats.org/officeDocument/2006/relationships" r:blip="">
          <dgm:adjLst/>
        </dgm:shape>
        <dgm:presOf/>
        <dgm:constrLst/>
        <dgm:forEach name="Name51" ref="textRepeat"/>
      </dgm:layoutNode>
      <dgm:layoutNode name="textaccent7">
        <dgm:alg type="sp"/>
        <dgm:shape xmlns:r="http://schemas.openxmlformats.org/officeDocument/2006/relationships" r:blip="">
          <dgm:adjLst/>
        </dgm:shape>
        <dgm:presOf/>
        <dgm:constrLst/>
        <dgm:forEach name="Name52" ref="accentRepeat"/>
      </dgm:layoutNode>
    </dgm:forEach>
    <dgm:forEach name="Name53" axis="ch" ptType="sibTrans" hideLastTrans="0" st="7" cnt="1">
      <dgm:layoutNode name="image7">
        <dgm:alg type="sp"/>
        <dgm:shape xmlns:r="http://schemas.openxmlformats.org/officeDocument/2006/relationships" r:blip="">
          <dgm:adjLst/>
        </dgm:shape>
        <dgm:presOf/>
        <dgm:constrLst/>
        <dgm:forEach name="Name54" ref="imageRepeat"/>
      </dgm:layoutNode>
      <dgm:layoutNode name="imageaccent7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</dgm:forEach>
    <dgm:forEach name="Name56" axis="ch" ptType="node" st="8" cnt="1">
      <dgm:layoutNode name="text8">
        <dgm:alg type="sp"/>
        <dgm:shape xmlns:r="http://schemas.openxmlformats.org/officeDocument/2006/relationships" r:blip="">
          <dgm:adjLst/>
        </dgm:shape>
        <dgm:presOf/>
        <dgm:constrLst/>
        <dgm:forEach name="Name57" ref="textRepeat"/>
      </dgm:layoutNode>
      <dgm:layoutNode name="textaccent8">
        <dgm:alg type="sp"/>
        <dgm:shape xmlns:r="http://schemas.openxmlformats.org/officeDocument/2006/relationships" r:blip="">
          <dgm:adjLst/>
        </dgm:shape>
        <dgm:presOf/>
        <dgm:constrLst/>
        <dgm:forEach name="Name58" ref="accentRepeat"/>
      </dgm:layoutNode>
    </dgm:forEach>
    <dgm:forEach name="Name59" axis="ch" ptType="sibTrans" hideLastTrans="0" st="8" cnt="1">
      <dgm:layoutNode name="image8">
        <dgm:alg type="sp"/>
        <dgm:shape xmlns:r="http://schemas.openxmlformats.org/officeDocument/2006/relationships" r:blip="">
          <dgm:adjLst/>
        </dgm:shape>
        <dgm:presOf/>
        <dgm:constrLst/>
        <dgm:forEach name="Name60" ref="imageRepeat"/>
      </dgm:layoutNode>
      <dgm:layoutNode name="imageaccent8">
        <dgm:alg type="sp"/>
        <dgm:shape xmlns:r="http://schemas.openxmlformats.org/officeDocument/2006/relationships" r:blip="">
          <dgm:adjLst/>
        </dgm:shape>
        <dgm:presOf/>
        <dgm:constrLst/>
        <dgm:forEach name="Name61" ref="accentRepeat"/>
      </dgm:layoutNode>
    </dgm:forEach>
    <dgm:forEach name="Name62" axis="ch" ptType="node" st="9" cnt="1">
      <dgm:layoutNode name="text9">
        <dgm:alg type="sp"/>
        <dgm:shape xmlns:r="http://schemas.openxmlformats.org/officeDocument/2006/relationships" r:blip="">
          <dgm:adjLst/>
        </dgm:shape>
        <dgm:presOf/>
        <dgm:constrLst/>
        <dgm:forEach name="Name63" ref="textRepeat"/>
      </dgm:layoutNode>
      <dgm:layoutNode name="textaccent9">
        <dgm:alg type="sp"/>
        <dgm:shape xmlns:r="http://schemas.openxmlformats.org/officeDocument/2006/relationships" r:blip="">
          <dgm:adjLst/>
        </dgm:shape>
        <dgm:presOf/>
        <dgm:constrLst/>
        <dgm:forEach name="Name64" ref="accentRepeat"/>
      </dgm:layoutNode>
    </dgm:forEach>
    <dgm:forEach name="Name65" axis="ch" ptType="sibTrans" hideLastTrans="0" st="9" cnt="1">
      <dgm:layoutNode name="image9">
        <dgm:alg type="sp"/>
        <dgm:shape xmlns:r="http://schemas.openxmlformats.org/officeDocument/2006/relationships" r:blip="">
          <dgm:adjLst/>
        </dgm:shape>
        <dgm:presOf/>
        <dgm:constrLst/>
        <dgm:forEach name="Name66" ref="imageRepeat"/>
      </dgm:layoutNode>
      <dgm:layoutNode name="imageaccent9">
        <dgm:alg type="sp"/>
        <dgm:shape xmlns:r="http://schemas.openxmlformats.org/officeDocument/2006/relationships" r:blip="">
          <dgm:adjLst/>
        </dgm:shape>
        <dgm:presOf/>
        <dgm:constrLst/>
        <dgm:forEach name="Name67" ref="accentRepeat"/>
      </dgm:layoutNode>
    </dgm:forEach>
    <dgm:forEach name="Name68" axis="ch" ptType="node" st="10" cnt="1">
      <dgm:layoutNode name="text10">
        <dgm:alg type="sp"/>
        <dgm:shape xmlns:r="http://schemas.openxmlformats.org/officeDocument/2006/relationships" r:blip="">
          <dgm:adjLst/>
        </dgm:shape>
        <dgm:presOf/>
        <dgm:constrLst/>
        <dgm:forEach name="Name69" ref="textRepeat"/>
      </dgm:layoutNode>
      <dgm:layoutNode name="textaccent10">
        <dgm:alg type="sp"/>
        <dgm:shape xmlns:r="http://schemas.openxmlformats.org/officeDocument/2006/relationships" r:blip="">
          <dgm:adjLst/>
        </dgm:shape>
        <dgm:presOf/>
        <dgm:constrLst/>
        <dgm:forEach name="Name70" ref="accentRepeat"/>
      </dgm:layoutNode>
    </dgm:forEach>
    <dgm:forEach name="Name71" axis="ch" ptType="sibTrans" hideLastTrans="0" st="10" cnt="1">
      <dgm:layoutNode name="image10">
        <dgm:alg type="sp"/>
        <dgm:shape xmlns:r="http://schemas.openxmlformats.org/officeDocument/2006/relationships" r:blip="">
          <dgm:adjLst/>
        </dgm:shape>
        <dgm:presOf/>
        <dgm:constrLst/>
        <dgm:forEach name="Name72" ref="imageRepeat"/>
      </dgm:layoutNode>
      <dgm:layoutNode name="imageaccent10">
        <dgm:alg type="sp"/>
        <dgm:shape xmlns:r="http://schemas.openxmlformats.org/officeDocument/2006/relationships" r:blip="">
          <dgm:adjLst/>
        </dgm:shape>
        <dgm:presOf/>
        <dgm:constrLst/>
        <dgm:forEach name="Name73" ref="accentRepeat"/>
      </dgm:layoutNode>
    </dgm:forEach>
    <dgm:forEach name="Name74" axis="ch" ptType="node" st="11" cnt="1">
      <dgm:layoutNode name="text11">
        <dgm:alg type="sp"/>
        <dgm:shape xmlns:r="http://schemas.openxmlformats.org/officeDocument/2006/relationships" r:blip="">
          <dgm:adjLst/>
        </dgm:shape>
        <dgm:presOf/>
        <dgm:constrLst/>
        <dgm:forEach name="Name75" ref="textRepeat"/>
      </dgm:layoutNode>
      <dgm:layoutNode name="textaccent1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</dgm:forEach>
    <dgm:forEach name="Name77" axis="ch" ptType="sibTrans" hideLastTrans="0" st="11" cnt="1">
      <dgm:layoutNode name="image11">
        <dgm:alg type="sp"/>
        <dgm:shape xmlns:r="http://schemas.openxmlformats.org/officeDocument/2006/relationships" r:blip="">
          <dgm:adjLst/>
        </dgm:shape>
        <dgm:presOf/>
        <dgm:constrLst/>
        <dgm:forEach name="Name78" ref="imageRepeat"/>
      </dgm:layoutNode>
      <dgm:layoutNode name="imageaccent11">
        <dgm:alg type="sp"/>
        <dgm:shape xmlns:r="http://schemas.openxmlformats.org/officeDocument/2006/relationships" r:blip="">
          <dgm:adjLst/>
        </dgm:shape>
        <dgm:presOf/>
        <dgm:constrLst/>
        <dgm:forEach name="Name79" ref="accentRepeat"/>
      </dgm:layoutNode>
    </dgm:forEach>
    <dgm:forEach name="Name80" axis="ch" ptType="node" st="12" cnt="1">
      <dgm:layoutNode name="text12">
        <dgm:alg type="sp"/>
        <dgm:shape xmlns:r="http://schemas.openxmlformats.org/officeDocument/2006/relationships" r:blip="">
          <dgm:adjLst/>
        </dgm:shape>
        <dgm:presOf/>
        <dgm:constrLst/>
        <dgm:forEach name="Name81" ref="textRepeat"/>
      </dgm:layoutNode>
      <dgm:layoutNode name="textaccent12">
        <dgm:alg type="sp"/>
        <dgm:shape xmlns:r="http://schemas.openxmlformats.org/officeDocument/2006/relationships" r:blip="">
          <dgm:adjLst/>
        </dgm:shape>
        <dgm:presOf/>
        <dgm:constrLst/>
        <dgm:forEach name="Name82" ref="accentRepeat"/>
      </dgm:layoutNode>
    </dgm:forEach>
    <dgm:forEach name="Name83" axis="ch" ptType="sibTrans" hideLastTrans="0" st="12" cnt="1">
      <dgm:layoutNode name="image12">
        <dgm:alg type="sp"/>
        <dgm:shape xmlns:r="http://schemas.openxmlformats.org/officeDocument/2006/relationships" r:blip="">
          <dgm:adjLst/>
        </dgm:shape>
        <dgm:presOf/>
        <dgm:constrLst/>
        <dgm:forEach name="Name84" ref="imageRepeat"/>
      </dgm:layoutNode>
      <dgm:layoutNode name="imageaccent12">
        <dgm:alg type="sp"/>
        <dgm:shape xmlns:r="http://schemas.openxmlformats.org/officeDocument/2006/relationships" r:blip="">
          <dgm:adjLst/>
        </dgm:shape>
        <dgm:presOf/>
        <dgm:constrLst/>
        <dgm:forEach name="Name85" ref="accentRepeat"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diagrams.loki3.com/BracketList">
  <dgm:title val="Vertical Bracket List"/>
  <dgm:desc val="Use to show grouped blocks of information.  Works well with large amounts of Level 2 text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76B33E4B-B448-4581-AF8F-57A2B5B13DF3}" type="datetimeFigureOut">
              <a:rPr lang="hr-HR"/>
              <a:pPr>
                <a:defRPr/>
              </a:pPr>
              <a:t>3.5.2017.</a:t>
            </a:fld>
            <a:endParaRPr lang="hr-H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hr-HR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hr-HR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7596E067-E806-4A4D-92CD-4B8DE05C9DE9}" type="slidenum">
              <a:rPr lang="hr-HR"/>
              <a:pPr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15280348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hr-HR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96E067-E806-4A4D-92CD-4B8DE05C9DE9}" type="slidenum">
              <a:rPr lang="hr-HR" smtClean="0"/>
              <a:pPr/>
              <a:t>1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6659586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96E067-E806-4A4D-92CD-4B8DE05C9DE9}" type="slidenum">
              <a:rPr lang="hr-HR" smtClean="0"/>
              <a:pPr/>
              <a:t>10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6508027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 smtClean="0"/>
          </a:p>
        </p:txBody>
      </p:sp>
    </p:spTree>
    <p:extLst>
      <p:ext uri="{BB962C8B-B14F-4D97-AF65-F5344CB8AC3E}">
        <p14:creationId xmlns:p14="http://schemas.microsoft.com/office/powerpoint/2010/main" val="26160791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21091518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96E067-E806-4A4D-92CD-4B8DE05C9DE9}" type="slidenum">
              <a:rPr lang="hr-HR" smtClean="0"/>
              <a:pPr/>
              <a:t>4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1040968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24053898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96E067-E806-4A4D-92CD-4B8DE05C9DE9}" type="slidenum">
              <a:rPr lang="hr-HR" smtClean="0"/>
              <a:pPr/>
              <a:t>6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32012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96E067-E806-4A4D-92CD-4B8DE05C9DE9}" type="slidenum">
              <a:rPr lang="hr-HR" smtClean="0"/>
              <a:pPr/>
              <a:t>7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0094026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hr-HR" altLang="sr-Latn-RS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13017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sz="1200" b="0" kern="1200" cap="none" spc="0" dirty="0" smtClean="0">
              <a:ln w="0"/>
              <a:solidFill>
                <a:srgbClr val="0070C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3374B-92AD-439E-A949-F3E08F0BC916}" type="slidenum">
              <a:rPr lang="hr-HR" smtClean="0"/>
              <a:t>9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749042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742950" indent="-285750">
              <a:buClr>
                <a:schemeClr val="tx1"/>
              </a:buClr>
              <a:buFont typeface="Wingdings" pitchFamily="2" charset="2"/>
              <a:buChar char="w"/>
              <a:defRPr sz="1800"/>
            </a:lvl2pPr>
            <a:lvl3pPr marL="1143000" indent="-228600">
              <a:buClr>
                <a:schemeClr val="tx1"/>
              </a:buClr>
              <a:buFont typeface="Wingdings" pitchFamily="2" charset="2"/>
              <a:buChar char="w"/>
              <a:defRPr sz="1800"/>
            </a:lvl3pPr>
            <a:lvl4pPr marL="1600200" indent="-228600">
              <a:buClr>
                <a:schemeClr val="tx1"/>
              </a:buClr>
              <a:buFont typeface="Wingdings" pitchFamily="2" charset="2"/>
              <a:buChar char="w"/>
              <a:defRPr sz="1800"/>
            </a:lvl4pPr>
            <a:lvl5pPr marL="2057400" indent="-228600">
              <a:buClr>
                <a:schemeClr val="tx1"/>
              </a:buClr>
              <a:buFont typeface="Wingdings" pitchFamily="2" charset="2"/>
              <a:buChar char="w"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3276600" y="188913"/>
            <a:ext cx="5472113" cy="4318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2071E6A-B2C4-479D-BA57-3A337CDBFDC4}" type="slidenum">
              <a:rPr lang="hr-HR"/>
              <a:pPr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930437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66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hr-HR">
              <a:solidFill>
                <a:srgbClr val="0066CC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4221163"/>
            <a:ext cx="9144000" cy="2305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hr-HR"/>
          </a:p>
        </p:txBody>
      </p:sp>
      <p:sp>
        <p:nvSpPr>
          <p:cNvPr id="6" name="TextBox 17"/>
          <p:cNvSpPr txBox="1">
            <a:spLocks noChangeArrowheads="1"/>
          </p:cNvSpPr>
          <p:nvPr/>
        </p:nvSpPr>
        <p:spPr bwMode="auto">
          <a:xfrm>
            <a:off x="250825" y="6597650"/>
            <a:ext cx="8713788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defRPr/>
            </a:pPr>
            <a:r>
              <a:rPr lang="hr-HR" sz="600">
                <a:solidFill>
                  <a:srgbClr val="A6A6A6"/>
                </a:solidFill>
              </a:rPr>
              <a:t>Hrvatska banka za obnovu i razvitak | </a:t>
            </a:r>
            <a:r>
              <a:rPr lang="en-US" sz="600">
                <a:solidFill>
                  <a:srgbClr val="A6A6A6"/>
                </a:solidFill>
              </a:rPr>
              <a:t>Strossmayerov trg 9, 10000 Zagreb |e-mail: hbor@hbor.hr | Tel: 01 4591 666, fax: 01 4591 721</a:t>
            </a:r>
            <a:endParaRPr lang="hr-HR" sz="600">
              <a:solidFill>
                <a:srgbClr val="A6A6A6"/>
              </a:solidFill>
            </a:endParaRPr>
          </a:p>
        </p:txBody>
      </p:sp>
      <p:pic>
        <p:nvPicPr>
          <p:cNvPr id="7" name="Picture 4" descr="Z:\Design\HBOR\ppt\poljoprivreda_1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859338" y="392113"/>
            <a:ext cx="1296987" cy="1296987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Z:\Design\HBOR\ppt\elementi\poduzetnistvo_4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503863" y="392113"/>
            <a:ext cx="1295400" cy="129540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Z:\Design\HBOR\ppt\turizam_5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146800" y="392113"/>
            <a:ext cx="1296988" cy="1296987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Z:\Design\HBOR\ppt\otoci_1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789738" y="392113"/>
            <a:ext cx="1296987" cy="1296987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C:\Users\iva.sunjic\Desktop\romb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434263" y="392113"/>
            <a:ext cx="1295400" cy="1298575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0" y="6480175"/>
            <a:ext cx="9144000" cy="4445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sr-Latn-R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hr-HR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68313" y="419100"/>
            <a:ext cx="2760662" cy="127476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" name="Text Placeholder 20"/>
          <p:cNvSpPr>
            <a:spLocks noGrp="1"/>
          </p:cNvSpPr>
          <p:nvPr>
            <p:ph type="body" sz="quarter" idx="11"/>
          </p:nvPr>
        </p:nvSpPr>
        <p:spPr>
          <a:xfrm>
            <a:off x="468313" y="4581525"/>
            <a:ext cx="8424862" cy="16557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 marL="914400" indent="0">
              <a:buNone/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/>
          </p:nvPr>
        </p:nvSpPr>
        <p:spPr>
          <a:xfrm>
            <a:off x="468313" y="3068638"/>
            <a:ext cx="8135937" cy="936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80091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3" y="275167"/>
            <a:ext cx="8099425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3" y="1786468"/>
            <a:ext cx="8099425" cy="4131733"/>
          </a:xfrm>
          <a:prstGeom prst="rect">
            <a:avLst/>
          </a:prstGeom>
        </p:spPr>
        <p:txBody>
          <a:bodyPr/>
          <a:lstStyle>
            <a:lvl1pPr>
              <a:lnSpc>
                <a:spcPts val="3113"/>
              </a:lnSpc>
              <a:defRPr/>
            </a:lvl1pPr>
            <a:lvl2pPr marL="494291" indent="-328559">
              <a:buClr>
                <a:srgbClr val="008FFF"/>
              </a:buClr>
              <a:buFont typeface="Wingdings" panose="05000000000000000000" pitchFamily="2" charset="2"/>
              <a:buChar char="q"/>
              <a:defRPr/>
            </a:lvl2pPr>
            <a:lvl3pPr marL="1046733" indent="-209347">
              <a:buClr>
                <a:srgbClr val="FF0000"/>
              </a:buClr>
              <a:buFont typeface="Wingdings" panose="05000000000000000000" pitchFamily="2" charset="2"/>
              <a:buChar char="q"/>
              <a:defRPr/>
            </a:lvl3pPr>
            <a:lvl4pPr marL="1465427" indent="-209347">
              <a:buClr>
                <a:srgbClr val="008F43"/>
              </a:buClr>
              <a:buFont typeface="Wingdings" panose="05000000000000000000" pitchFamily="2" charset="2"/>
              <a:buChar char="q"/>
              <a:defRPr/>
            </a:lvl4pPr>
            <a:lvl5pPr marL="1884119" indent="-209347">
              <a:buClr>
                <a:srgbClr val="448CA9"/>
              </a:buClr>
              <a:buFont typeface="Wingdings" panose="05000000000000000000" pitchFamily="2" charset="2"/>
              <a:buChar char="q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090027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0390-CA33-41CD-B7D2-C60FD1944AB6}" type="slidenum">
              <a:rPr lang="hr-HR" smtClean="0">
                <a:solidFill>
                  <a:prstClr val="white"/>
                </a:solidFill>
              </a:rPr>
              <a:pPr/>
              <a:t>‹#›</a:t>
            </a:fld>
            <a:endParaRPr lang="hr-H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161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0390-CA33-41CD-B7D2-C60FD1944AB6}" type="slidenum">
              <a:rPr lang="hr-HR" smtClean="0">
                <a:solidFill>
                  <a:prstClr val="white"/>
                </a:solidFill>
              </a:rPr>
              <a:pPr/>
              <a:t>‹#›</a:t>
            </a:fld>
            <a:endParaRPr lang="hr-H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306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66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sr-Latn-R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r-HR"/>
          </a:p>
        </p:txBody>
      </p:sp>
      <p:sp>
        <p:nvSpPr>
          <p:cNvPr id="8" name="Rectangle 7"/>
          <p:cNvSpPr/>
          <p:nvPr/>
        </p:nvSpPr>
        <p:spPr>
          <a:xfrm>
            <a:off x="0" y="765175"/>
            <a:ext cx="9144000" cy="57594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sr-Latn-R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r-HR"/>
          </a:p>
        </p:txBody>
      </p:sp>
      <p:sp>
        <p:nvSpPr>
          <p:cNvPr id="9" name="Rectangle 8"/>
          <p:cNvSpPr/>
          <p:nvPr/>
        </p:nvSpPr>
        <p:spPr>
          <a:xfrm>
            <a:off x="0" y="6480175"/>
            <a:ext cx="9144000" cy="4445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sr-Latn-R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hr-HR"/>
          </a:p>
        </p:txBody>
      </p:sp>
      <p:pic>
        <p:nvPicPr>
          <p:cNvPr id="12" name="Picture 11" descr="C:\Users\iva.sunjic\Desktop\rom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459788" y="6299200"/>
            <a:ext cx="452437" cy="452438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1"/>
          <p:cNvSpPr txBox="1"/>
          <p:nvPr/>
        </p:nvSpPr>
        <p:spPr>
          <a:xfrm>
            <a:off x="250825" y="6597650"/>
            <a:ext cx="6408738" cy="185738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sr-Latn-R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600" dirty="0">
                <a:solidFill>
                  <a:schemeClr val="bg1"/>
                </a:solidFill>
              </a:rPr>
              <a:t>Hrvatska banka za obnovu i razvitak | </a:t>
            </a:r>
            <a:r>
              <a:rPr lang="en-US" sz="600" dirty="0" err="1">
                <a:solidFill>
                  <a:schemeClr val="bg1"/>
                </a:solidFill>
              </a:rPr>
              <a:t>Strossmayerov</a:t>
            </a:r>
            <a:r>
              <a:rPr lang="en-US" sz="600" dirty="0">
                <a:solidFill>
                  <a:schemeClr val="bg1"/>
                </a:solidFill>
              </a:rPr>
              <a:t> </a:t>
            </a:r>
            <a:r>
              <a:rPr lang="en-US" sz="600" dirty="0" err="1">
                <a:solidFill>
                  <a:schemeClr val="bg1"/>
                </a:solidFill>
              </a:rPr>
              <a:t>trg</a:t>
            </a:r>
            <a:r>
              <a:rPr lang="en-US" sz="600" dirty="0">
                <a:solidFill>
                  <a:schemeClr val="bg1"/>
                </a:solidFill>
              </a:rPr>
              <a:t> 9, 10000 Zagreb |e-mail: hbor@hbor.hr | Tel: 01 4591 666, fax: 01 4591 721</a:t>
            </a:r>
            <a:endParaRPr lang="hr-HR" sz="600" dirty="0">
              <a:solidFill>
                <a:schemeClr val="bg1"/>
              </a:solidFill>
            </a:endParaRP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2588" y="6381750"/>
            <a:ext cx="20605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chemeClr val="bg1"/>
                </a:solidFill>
              </a:defRPr>
            </a:lvl1pPr>
          </a:lstStyle>
          <a:p>
            <a:fld id="{CF890390-CA33-41CD-B7D2-C60FD1944AB6}" type="slidenum">
              <a:rPr lang="hr-HR"/>
              <a:pPr/>
              <a:t>‹#›</a:t>
            </a:fld>
            <a:endParaRPr lang="hr-HR"/>
          </a:p>
        </p:txBody>
      </p:sp>
      <p:pic>
        <p:nvPicPr>
          <p:cNvPr id="1032" name="Picture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188913"/>
            <a:ext cx="898525" cy="41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3" r:id="rId3"/>
    <p:sldLayoutId id="2147483684" r:id="rId4"/>
    <p:sldLayoutId id="2147483685" r:id="rId5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r-Latn-R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4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slideLayout" Target="../slideLayouts/slideLayout4.xml"/><Relationship Id="rId7" Type="http://schemas.openxmlformats.org/officeDocument/2006/relationships/diagramData" Target="../diagrams/data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emf"/><Relationship Id="rId11" Type="http://schemas.microsoft.com/office/2007/relationships/diagramDrawing" Target="../diagrams/drawing6.xml"/><Relationship Id="rId5" Type="http://schemas.openxmlformats.org/officeDocument/2006/relationships/oleObject" Target="../embeddings/oleObject2.bin"/><Relationship Id="rId10" Type="http://schemas.openxmlformats.org/officeDocument/2006/relationships/diagramColors" Target="../diagrams/colors6.xml"/><Relationship Id="rId4" Type="http://schemas.openxmlformats.org/officeDocument/2006/relationships/notesSlide" Target="../notesSlides/notesSlide7.xml"/><Relationship Id="rId9" Type="http://schemas.openxmlformats.org/officeDocument/2006/relationships/diagramQuickStyle" Target="../diagrams/quickStyle6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3" Type="http://schemas.openxmlformats.org/officeDocument/2006/relationships/image" Target="../media/image13.png"/><Relationship Id="rId7" Type="http://schemas.openxmlformats.org/officeDocument/2006/relationships/diagramColors" Target="../diagrams/colors7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7.xml"/><Relationship Id="rId5" Type="http://schemas.openxmlformats.org/officeDocument/2006/relationships/diagramLayout" Target="../diagrams/layout7.xml"/><Relationship Id="rId4" Type="http://schemas.openxmlformats.org/officeDocument/2006/relationships/diagramData" Target="../diagrams/data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9.xml"/><Relationship Id="rId13" Type="http://schemas.openxmlformats.org/officeDocument/2006/relationships/image" Target="../media/image14.png"/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12" Type="http://schemas.microsoft.com/office/2007/relationships/diagramDrawing" Target="../diagrams/drawing9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8.xml"/><Relationship Id="rId11" Type="http://schemas.openxmlformats.org/officeDocument/2006/relationships/diagramColors" Target="../diagrams/colors9.xml"/><Relationship Id="rId5" Type="http://schemas.openxmlformats.org/officeDocument/2006/relationships/diagramQuickStyle" Target="../diagrams/quickStyle8.xml"/><Relationship Id="rId10" Type="http://schemas.openxmlformats.org/officeDocument/2006/relationships/diagramQuickStyle" Target="../diagrams/quickStyle9.xml"/><Relationship Id="rId4" Type="http://schemas.openxmlformats.org/officeDocument/2006/relationships/diagramLayout" Target="../diagrams/layout8.xml"/><Relationship Id="rId9" Type="http://schemas.openxmlformats.org/officeDocument/2006/relationships/diagramLayout" Target="../diagrams/layout9.xml"/><Relationship Id="rId1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89430" y="5060878"/>
            <a:ext cx="8424862" cy="1368130"/>
          </a:xfr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/>
          <a:lstStyle/>
          <a:p>
            <a:pPr algn="ctr"/>
            <a:endParaRPr lang="hr-HR" sz="1600" dirty="0"/>
          </a:p>
          <a:p>
            <a:pPr algn="ctr"/>
            <a:endParaRPr lang="hr-HR" sz="1600" dirty="0"/>
          </a:p>
          <a:p>
            <a:pPr algn="ctr"/>
            <a:r>
              <a:rPr lang="hr-HR" sz="1600" dirty="0" err="1"/>
              <a:t>Solaris</a:t>
            </a:r>
            <a:r>
              <a:rPr lang="hr-HR" sz="1600" dirty="0"/>
              <a:t>, Šibenik</a:t>
            </a:r>
          </a:p>
          <a:p>
            <a:pPr algn="ctr"/>
            <a:r>
              <a:rPr lang="hr-HR" sz="1600" dirty="0"/>
              <a:t>4. svibnja 2017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7549" y="2636912"/>
            <a:ext cx="8640188" cy="1318627"/>
          </a:xfr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/>
            <a:r>
              <a:rPr lang="hr-HR" b="1" dirty="0">
                <a:ln w="0"/>
              </a:rPr>
              <a:t>HRVATSKA BANKA </a:t>
            </a:r>
          </a:p>
          <a:p>
            <a:pPr algn="ctr"/>
            <a:r>
              <a:rPr lang="hr-HR" b="1" dirty="0">
                <a:ln w="0"/>
              </a:rPr>
              <a:t>ZA OBNOVU I RAZVITAK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823593" y="3528952"/>
            <a:ext cx="5728100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hr-HR" sz="2600" dirty="0">
              <a:ln w="0"/>
            </a:endParaRPr>
          </a:p>
          <a:p>
            <a:pPr algn="ctr"/>
            <a:endParaRPr lang="hr-HR" sz="2600" dirty="0">
              <a:ln w="0"/>
            </a:endParaRPr>
          </a:p>
          <a:p>
            <a:pPr algn="ctr" eaLnBrk="1" hangingPunct="1"/>
            <a:r>
              <a:rPr lang="hr-HR" sz="2000" dirty="0">
                <a:ln w="0"/>
              </a:rPr>
              <a:t>mr. </a:t>
            </a:r>
            <a:r>
              <a:rPr lang="hr-HR" sz="2000" dirty="0" err="1">
                <a:ln w="0"/>
              </a:rPr>
              <a:t>sc</a:t>
            </a:r>
            <a:r>
              <a:rPr lang="hr-HR" sz="2000" dirty="0">
                <a:ln w="0"/>
              </a:rPr>
              <a:t>. Tamara </a:t>
            </a:r>
            <a:r>
              <a:rPr lang="hr-HR" sz="2000" dirty="0" err="1">
                <a:ln w="0"/>
              </a:rPr>
              <a:t>Perko</a:t>
            </a:r>
            <a:endParaRPr lang="hr-HR" sz="2000" dirty="0">
              <a:ln w="0"/>
            </a:endParaRPr>
          </a:p>
          <a:p>
            <a:pPr algn="ctr" eaLnBrk="1" hangingPunct="1"/>
            <a:r>
              <a:rPr lang="hr-HR" sz="2000" dirty="0">
                <a:ln w="0"/>
              </a:rPr>
              <a:t>Predsjednica Uprave HBOR-a</a:t>
            </a:r>
          </a:p>
          <a:p>
            <a:pPr algn="ctr" eaLnBrk="1" hangingPunct="1"/>
            <a:endParaRPr lang="hr-HR" sz="2000" dirty="0">
              <a:ln w="0"/>
            </a:endParaRPr>
          </a:p>
          <a:p>
            <a:pPr algn="ctr"/>
            <a:endParaRPr lang="hr-HR" sz="2600" dirty="0">
              <a:ln w="0"/>
            </a:endParaRPr>
          </a:p>
        </p:txBody>
      </p:sp>
    </p:spTree>
    <p:extLst>
      <p:ext uri="{BB962C8B-B14F-4D97-AF65-F5344CB8AC3E}">
        <p14:creationId xmlns:p14="http://schemas.microsoft.com/office/powerpoint/2010/main" val="2570739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Slide Number Placeholder 3"/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r>
              <a:rPr lang="hr-HR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517159" y="2683513"/>
            <a:ext cx="5728100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hr-HR" sz="26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 eaLnBrk="1" hangingPunct="1"/>
            <a:r>
              <a:rPr lang="hr-HR" sz="2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r.sc. Tamara Perko </a:t>
            </a:r>
          </a:p>
          <a:p>
            <a:pPr algn="ctr" eaLnBrk="1" hangingPunct="1"/>
            <a:r>
              <a:rPr lang="hr-HR" sz="2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redsjednica Uprave</a:t>
            </a:r>
          </a:p>
          <a:p>
            <a:pPr algn="ctr" eaLnBrk="1" hangingPunct="1"/>
            <a:endParaRPr lang="hr-HR" sz="20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 eaLnBrk="1" hangingPunct="1"/>
            <a:r>
              <a:rPr lang="hr-HR" sz="2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Hrvatska banka za obnovu i razvitak</a:t>
            </a:r>
          </a:p>
          <a:p>
            <a:pPr algn="ctr" eaLnBrk="1" hangingPunct="1"/>
            <a:r>
              <a:rPr lang="hr-HR" sz="2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trossmayerov trg 9</a:t>
            </a:r>
          </a:p>
          <a:p>
            <a:pPr algn="ctr" eaLnBrk="1" hangingPunct="1"/>
            <a:r>
              <a:rPr lang="hr-HR" sz="2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Zagreb</a:t>
            </a:r>
          </a:p>
          <a:p>
            <a:pPr algn="ctr"/>
            <a:endParaRPr lang="hr-HR" sz="26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483767" y="2160293"/>
            <a:ext cx="3794885" cy="523220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none">
            <a:spAutoFit/>
          </a:bodyPr>
          <a:lstStyle/>
          <a:p>
            <a:pPr algn="ctr"/>
            <a:r>
              <a:rPr lang="hr-HR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HVALA NA POZORNOSTI!</a:t>
            </a:r>
          </a:p>
        </p:txBody>
      </p:sp>
    </p:spTree>
    <p:extLst>
      <p:ext uri="{BB962C8B-B14F-4D97-AF65-F5344CB8AC3E}">
        <p14:creationId xmlns:p14="http://schemas.microsoft.com/office/powerpoint/2010/main" val="2079013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458226141"/>
              </p:ext>
            </p:extLst>
          </p:nvPr>
        </p:nvGraphicFramePr>
        <p:xfrm>
          <a:off x="653940" y="1159607"/>
          <a:ext cx="5983260" cy="46456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138299" y="156112"/>
            <a:ext cx="6840091" cy="4318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hr-HR" b="1" dirty="0" smtClean="0"/>
              <a:t>25 godina podrške razvoju domaćeg gospodarstva</a:t>
            </a:r>
            <a:endParaRPr lang="hr-HR" b="1" dirty="0"/>
          </a:p>
        </p:txBody>
      </p:sp>
      <p:grpSp>
        <p:nvGrpSpPr>
          <p:cNvPr id="140" name="Group 2"/>
          <p:cNvGrpSpPr>
            <a:grpSpLocks/>
          </p:cNvGrpSpPr>
          <p:nvPr/>
        </p:nvGrpSpPr>
        <p:grpSpPr bwMode="auto">
          <a:xfrm>
            <a:off x="5648960" y="991175"/>
            <a:ext cx="3038285" cy="2532926"/>
            <a:chOff x="2880" y="2259"/>
            <a:chExt cx="2767" cy="2056"/>
          </a:xfrm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</p:grpSpPr>
        <p:sp>
          <p:nvSpPr>
            <p:cNvPr id="141" name="AutoShape 3"/>
            <p:cNvSpPr>
              <a:spLocks noChangeAspect="1" noChangeArrowheads="1" noTextEdit="1"/>
            </p:cNvSpPr>
            <p:nvPr/>
          </p:nvSpPr>
          <p:spPr bwMode="auto">
            <a:xfrm>
              <a:off x="2925" y="2259"/>
              <a:ext cx="2585" cy="2056"/>
            </a:xfrm>
            <a:prstGeom prst="rect">
              <a:avLst/>
            </a:prstGeom>
            <a:noFill/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r-HR"/>
            </a:p>
          </p:txBody>
        </p:sp>
        <p:sp>
          <p:nvSpPr>
            <p:cNvPr id="142" name="Freeform 4"/>
            <p:cNvSpPr>
              <a:spLocks/>
            </p:cNvSpPr>
            <p:nvPr/>
          </p:nvSpPr>
          <p:spPr bwMode="auto">
            <a:xfrm>
              <a:off x="3132" y="2259"/>
              <a:ext cx="2470" cy="1641"/>
            </a:xfrm>
            <a:custGeom>
              <a:avLst/>
              <a:gdLst>
                <a:gd name="T0" fmla="*/ 1 w 3554"/>
                <a:gd name="T1" fmla="*/ 1 h 2745"/>
                <a:gd name="T2" fmla="*/ 1 w 3554"/>
                <a:gd name="T3" fmla="*/ 1 h 2745"/>
                <a:gd name="T4" fmla="*/ 1 w 3554"/>
                <a:gd name="T5" fmla="*/ 1 h 2745"/>
                <a:gd name="T6" fmla="*/ 1 w 3554"/>
                <a:gd name="T7" fmla="*/ 1 h 2745"/>
                <a:gd name="T8" fmla="*/ 1 w 3554"/>
                <a:gd name="T9" fmla="*/ 1 h 2745"/>
                <a:gd name="T10" fmla="*/ 1 w 3554"/>
                <a:gd name="T11" fmla="*/ 1 h 2745"/>
                <a:gd name="T12" fmla="*/ 1 w 3554"/>
                <a:gd name="T13" fmla="*/ 1 h 2745"/>
                <a:gd name="T14" fmla="*/ 1 w 3554"/>
                <a:gd name="T15" fmla="*/ 1 h 2745"/>
                <a:gd name="T16" fmla="*/ 1 w 3554"/>
                <a:gd name="T17" fmla="*/ 1 h 2745"/>
                <a:gd name="T18" fmla="*/ 1 w 3554"/>
                <a:gd name="T19" fmla="*/ 1 h 2745"/>
                <a:gd name="T20" fmla="*/ 1 w 3554"/>
                <a:gd name="T21" fmla="*/ 1 h 2745"/>
                <a:gd name="T22" fmla="*/ 1 w 3554"/>
                <a:gd name="T23" fmla="*/ 1 h 2745"/>
                <a:gd name="T24" fmla="*/ 1 w 3554"/>
                <a:gd name="T25" fmla="*/ 1 h 2745"/>
                <a:gd name="T26" fmla="*/ 1 w 3554"/>
                <a:gd name="T27" fmla="*/ 1 h 2745"/>
                <a:gd name="T28" fmla="*/ 1 w 3554"/>
                <a:gd name="T29" fmla="*/ 0 h 2745"/>
                <a:gd name="T30" fmla="*/ 1 w 3554"/>
                <a:gd name="T31" fmla="*/ 1 h 2745"/>
                <a:gd name="T32" fmla="*/ 1 w 3554"/>
                <a:gd name="T33" fmla="*/ 1 h 2745"/>
                <a:gd name="T34" fmla="*/ 1 w 3554"/>
                <a:gd name="T35" fmla="*/ 1 h 2745"/>
                <a:gd name="T36" fmla="*/ 1 w 3554"/>
                <a:gd name="T37" fmla="*/ 1 h 2745"/>
                <a:gd name="T38" fmla="*/ 1 w 3554"/>
                <a:gd name="T39" fmla="*/ 1 h 2745"/>
                <a:gd name="T40" fmla="*/ 1 w 3554"/>
                <a:gd name="T41" fmla="*/ 1 h 2745"/>
                <a:gd name="T42" fmla="*/ 1 w 3554"/>
                <a:gd name="T43" fmla="*/ 1 h 2745"/>
                <a:gd name="T44" fmla="*/ 1 w 3554"/>
                <a:gd name="T45" fmla="*/ 1 h 2745"/>
                <a:gd name="T46" fmla="*/ 1 w 3554"/>
                <a:gd name="T47" fmla="*/ 1 h 2745"/>
                <a:gd name="T48" fmla="*/ 1 w 3554"/>
                <a:gd name="T49" fmla="*/ 1 h 2745"/>
                <a:gd name="T50" fmla="*/ 1 w 3554"/>
                <a:gd name="T51" fmla="*/ 1 h 2745"/>
                <a:gd name="T52" fmla="*/ 1 w 3554"/>
                <a:gd name="T53" fmla="*/ 1 h 2745"/>
                <a:gd name="T54" fmla="*/ 1 w 3554"/>
                <a:gd name="T55" fmla="*/ 1 h 2745"/>
                <a:gd name="T56" fmla="*/ 1 w 3554"/>
                <a:gd name="T57" fmla="*/ 1 h 2745"/>
                <a:gd name="T58" fmla="*/ 1 w 3554"/>
                <a:gd name="T59" fmla="*/ 1 h 2745"/>
                <a:gd name="T60" fmla="*/ 1 w 3554"/>
                <a:gd name="T61" fmla="*/ 1 h 2745"/>
                <a:gd name="T62" fmla="*/ 1 w 3554"/>
                <a:gd name="T63" fmla="*/ 1 h 2745"/>
                <a:gd name="T64" fmla="*/ 1 w 3554"/>
                <a:gd name="T65" fmla="*/ 1 h 2745"/>
                <a:gd name="T66" fmla="*/ 1 w 3554"/>
                <a:gd name="T67" fmla="*/ 1 h 2745"/>
                <a:gd name="T68" fmla="*/ 1 w 3554"/>
                <a:gd name="T69" fmla="*/ 1 h 2745"/>
                <a:gd name="T70" fmla="*/ 1 w 3554"/>
                <a:gd name="T71" fmla="*/ 1 h 2745"/>
                <a:gd name="T72" fmla="*/ 1 w 3554"/>
                <a:gd name="T73" fmla="*/ 1 h 2745"/>
                <a:gd name="T74" fmla="*/ 1 w 3554"/>
                <a:gd name="T75" fmla="*/ 1 h 2745"/>
                <a:gd name="T76" fmla="*/ 1 w 3554"/>
                <a:gd name="T77" fmla="*/ 1 h 2745"/>
                <a:gd name="T78" fmla="*/ 1 w 3554"/>
                <a:gd name="T79" fmla="*/ 1 h 2745"/>
                <a:gd name="T80" fmla="*/ 1 w 3554"/>
                <a:gd name="T81" fmla="*/ 1 h 2745"/>
                <a:gd name="T82" fmla="*/ 1 w 3554"/>
                <a:gd name="T83" fmla="*/ 1 h 2745"/>
                <a:gd name="T84" fmla="*/ 1 w 3554"/>
                <a:gd name="T85" fmla="*/ 1 h 2745"/>
                <a:gd name="T86" fmla="*/ 1 w 3554"/>
                <a:gd name="T87" fmla="*/ 1 h 2745"/>
                <a:gd name="T88" fmla="*/ 1 w 3554"/>
                <a:gd name="T89" fmla="*/ 1 h 2745"/>
                <a:gd name="T90" fmla="*/ 1 w 3554"/>
                <a:gd name="T91" fmla="*/ 1 h 2745"/>
                <a:gd name="T92" fmla="*/ 1 w 3554"/>
                <a:gd name="T93" fmla="*/ 1 h 2745"/>
                <a:gd name="T94" fmla="*/ 1 w 3554"/>
                <a:gd name="T95" fmla="*/ 1 h 2745"/>
                <a:gd name="T96" fmla="*/ 1 w 3554"/>
                <a:gd name="T97" fmla="*/ 1 h 2745"/>
                <a:gd name="T98" fmla="*/ 1 w 3554"/>
                <a:gd name="T99" fmla="*/ 1 h 2745"/>
                <a:gd name="T100" fmla="*/ 1 w 3554"/>
                <a:gd name="T101" fmla="*/ 1 h 2745"/>
                <a:gd name="T102" fmla="*/ 1 w 3554"/>
                <a:gd name="T103" fmla="*/ 1 h 2745"/>
                <a:gd name="T104" fmla="*/ 1 w 3554"/>
                <a:gd name="T105" fmla="*/ 1 h 2745"/>
                <a:gd name="T106" fmla="*/ 1 w 3554"/>
                <a:gd name="T107" fmla="*/ 1 h 2745"/>
                <a:gd name="T108" fmla="*/ 1 w 3554"/>
                <a:gd name="T109" fmla="*/ 1 h 2745"/>
                <a:gd name="T110" fmla="*/ 1 w 3554"/>
                <a:gd name="T111" fmla="*/ 1 h 2745"/>
                <a:gd name="T112" fmla="*/ 1 w 3554"/>
                <a:gd name="T113" fmla="*/ 1 h 2745"/>
                <a:gd name="T114" fmla="*/ 1 w 3554"/>
                <a:gd name="T115" fmla="*/ 1 h 2745"/>
                <a:gd name="T116" fmla="*/ 1 w 3554"/>
                <a:gd name="T117" fmla="*/ 1 h 2745"/>
                <a:gd name="T118" fmla="*/ 1 w 3554"/>
                <a:gd name="T119" fmla="*/ 1 h 274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554"/>
                <a:gd name="T181" fmla="*/ 0 h 2745"/>
                <a:gd name="T182" fmla="*/ 3554 w 3554"/>
                <a:gd name="T183" fmla="*/ 2745 h 274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554" h="2745">
                  <a:moveTo>
                    <a:pt x="2936" y="1099"/>
                  </a:moveTo>
                  <a:lnTo>
                    <a:pt x="2938" y="1100"/>
                  </a:lnTo>
                  <a:lnTo>
                    <a:pt x="2945" y="1105"/>
                  </a:lnTo>
                  <a:lnTo>
                    <a:pt x="2955" y="1111"/>
                  </a:lnTo>
                  <a:lnTo>
                    <a:pt x="2967" y="1118"/>
                  </a:lnTo>
                  <a:lnTo>
                    <a:pt x="2979" y="1123"/>
                  </a:lnTo>
                  <a:lnTo>
                    <a:pt x="2992" y="1125"/>
                  </a:lnTo>
                  <a:lnTo>
                    <a:pt x="3006" y="1125"/>
                  </a:lnTo>
                  <a:lnTo>
                    <a:pt x="3016" y="1118"/>
                  </a:lnTo>
                  <a:lnTo>
                    <a:pt x="3026" y="1111"/>
                  </a:lnTo>
                  <a:lnTo>
                    <a:pt x="3035" y="1107"/>
                  </a:lnTo>
                  <a:lnTo>
                    <a:pt x="3047" y="1107"/>
                  </a:lnTo>
                  <a:lnTo>
                    <a:pt x="3057" y="1111"/>
                  </a:lnTo>
                  <a:lnTo>
                    <a:pt x="3067" y="1116"/>
                  </a:lnTo>
                  <a:lnTo>
                    <a:pt x="3077" y="1123"/>
                  </a:lnTo>
                  <a:lnTo>
                    <a:pt x="3086" y="1132"/>
                  </a:lnTo>
                  <a:lnTo>
                    <a:pt x="3096" y="1142"/>
                  </a:lnTo>
                  <a:lnTo>
                    <a:pt x="3114" y="1161"/>
                  </a:lnTo>
                  <a:lnTo>
                    <a:pt x="3125" y="1177"/>
                  </a:lnTo>
                  <a:lnTo>
                    <a:pt x="3131" y="1194"/>
                  </a:lnTo>
                  <a:lnTo>
                    <a:pt x="3133" y="1213"/>
                  </a:lnTo>
                  <a:lnTo>
                    <a:pt x="3135" y="1224"/>
                  </a:lnTo>
                  <a:lnTo>
                    <a:pt x="3141" y="1236"/>
                  </a:lnTo>
                  <a:lnTo>
                    <a:pt x="3149" y="1246"/>
                  </a:lnTo>
                  <a:lnTo>
                    <a:pt x="3161" y="1257"/>
                  </a:lnTo>
                  <a:lnTo>
                    <a:pt x="3172" y="1267"/>
                  </a:lnTo>
                  <a:lnTo>
                    <a:pt x="3188" y="1276"/>
                  </a:lnTo>
                  <a:lnTo>
                    <a:pt x="3204" y="1281"/>
                  </a:lnTo>
                  <a:lnTo>
                    <a:pt x="3219" y="1285"/>
                  </a:lnTo>
                  <a:lnTo>
                    <a:pt x="3235" y="1285"/>
                  </a:lnTo>
                  <a:lnTo>
                    <a:pt x="3249" y="1285"/>
                  </a:lnTo>
                  <a:lnTo>
                    <a:pt x="3262" y="1283"/>
                  </a:lnTo>
                  <a:lnTo>
                    <a:pt x="3274" y="1280"/>
                  </a:lnTo>
                  <a:lnTo>
                    <a:pt x="3286" y="1276"/>
                  </a:lnTo>
                  <a:lnTo>
                    <a:pt x="3296" y="1271"/>
                  </a:lnTo>
                  <a:lnTo>
                    <a:pt x="3304" y="1264"/>
                  </a:lnTo>
                  <a:lnTo>
                    <a:pt x="3309" y="1255"/>
                  </a:lnTo>
                  <a:lnTo>
                    <a:pt x="3319" y="1248"/>
                  </a:lnTo>
                  <a:lnTo>
                    <a:pt x="3331" y="1241"/>
                  </a:lnTo>
                  <a:lnTo>
                    <a:pt x="3347" y="1236"/>
                  </a:lnTo>
                  <a:lnTo>
                    <a:pt x="3364" y="1231"/>
                  </a:lnTo>
                  <a:lnTo>
                    <a:pt x="3378" y="1224"/>
                  </a:lnTo>
                  <a:lnTo>
                    <a:pt x="3388" y="1215"/>
                  </a:lnTo>
                  <a:lnTo>
                    <a:pt x="3394" y="1205"/>
                  </a:lnTo>
                  <a:lnTo>
                    <a:pt x="3390" y="1189"/>
                  </a:lnTo>
                  <a:lnTo>
                    <a:pt x="3374" y="1147"/>
                  </a:lnTo>
                  <a:lnTo>
                    <a:pt x="3364" y="1099"/>
                  </a:lnTo>
                  <a:lnTo>
                    <a:pt x="3370" y="1060"/>
                  </a:lnTo>
                  <a:lnTo>
                    <a:pt x="3396" y="1046"/>
                  </a:lnTo>
                  <a:lnTo>
                    <a:pt x="3417" y="1048"/>
                  </a:lnTo>
                  <a:lnTo>
                    <a:pt x="3441" y="1050"/>
                  </a:lnTo>
                  <a:lnTo>
                    <a:pt x="3464" y="1050"/>
                  </a:lnTo>
                  <a:lnTo>
                    <a:pt x="3488" y="1048"/>
                  </a:lnTo>
                  <a:lnTo>
                    <a:pt x="3509" y="1046"/>
                  </a:lnTo>
                  <a:lnTo>
                    <a:pt x="3529" y="1039"/>
                  </a:lnTo>
                  <a:lnTo>
                    <a:pt x="3542" y="1031"/>
                  </a:lnTo>
                  <a:lnTo>
                    <a:pt x="3550" y="1018"/>
                  </a:lnTo>
                  <a:lnTo>
                    <a:pt x="3552" y="1013"/>
                  </a:lnTo>
                  <a:lnTo>
                    <a:pt x="3552" y="1008"/>
                  </a:lnTo>
                  <a:lnTo>
                    <a:pt x="3554" y="1003"/>
                  </a:lnTo>
                  <a:lnTo>
                    <a:pt x="3554" y="999"/>
                  </a:lnTo>
                  <a:lnTo>
                    <a:pt x="3552" y="984"/>
                  </a:lnTo>
                  <a:lnTo>
                    <a:pt x="3542" y="971"/>
                  </a:lnTo>
                  <a:lnTo>
                    <a:pt x="3527" y="964"/>
                  </a:lnTo>
                  <a:lnTo>
                    <a:pt x="3501" y="961"/>
                  </a:lnTo>
                  <a:lnTo>
                    <a:pt x="3486" y="959"/>
                  </a:lnTo>
                  <a:lnTo>
                    <a:pt x="3474" y="956"/>
                  </a:lnTo>
                  <a:lnTo>
                    <a:pt x="3464" y="951"/>
                  </a:lnTo>
                  <a:lnTo>
                    <a:pt x="3456" y="945"/>
                  </a:lnTo>
                  <a:lnTo>
                    <a:pt x="3446" y="942"/>
                  </a:lnTo>
                  <a:lnTo>
                    <a:pt x="3437" y="937"/>
                  </a:lnTo>
                  <a:lnTo>
                    <a:pt x="3423" y="935"/>
                  </a:lnTo>
                  <a:lnTo>
                    <a:pt x="3405" y="933"/>
                  </a:lnTo>
                  <a:lnTo>
                    <a:pt x="3388" y="931"/>
                  </a:lnTo>
                  <a:lnTo>
                    <a:pt x="3374" y="924"/>
                  </a:lnTo>
                  <a:lnTo>
                    <a:pt x="3364" y="916"/>
                  </a:lnTo>
                  <a:lnTo>
                    <a:pt x="3354" y="907"/>
                  </a:lnTo>
                  <a:lnTo>
                    <a:pt x="3347" y="897"/>
                  </a:lnTo>
                  <a:lnTo>
                    <a:pt x="3337" y="886"/>
                  </a:lnTo>
                  <a:lnTo>
                    <a:pt x="3327" y="879"/>
                  </a:lnTo>
                  <a:lnTo>
                    <a:pt x="3315" y="876"/>
                  </a:lnTo>
                  <a:lnTo>
                    <a:pt x="3313" y="874"/>
                  </a:lnTo>
                  <a:lnTo>
                    <a:pt x="3311" y="867"/>
                  </a:lnTo>
                  <a:lnTo>
                    <a:pt x="3307" y="858"/>
                  </a:lnTo>
                  <a:lnTo>
                    <a:pt x="3306" y="848"/>
                  </a:lnTo>
                  <a:lnTo>
                    <a:pt x="3304" y="837"/>
                  </a:lnTo>
                  <a:lnTo>
                    <a:pt x="3300" y="829"/>
                  </a:lnTo>
                  <a:lnTo>
                    <a:pt x="3298" y="822"/>
                  </a:lnTo>
                  <a:lnTo>
                    <a:pt x="3306" y="815"/>
                  </a:lnTo>
                  <a:lnTo>
                    <a:pt x="3313" y="810"/>
                  </a:lnTo>
                  <a:lnTo>
                    <a:pt x="3321" y="804"/>
                  </a:lnTo>
                  <a:lnTo>
                    <a:pt x="3329" y="797"/>
                  </a:lnTo>
                  <a:lnTo>
                    <a:pt x="3337" y="790"/>
                  </a:lnTo>
                  <a:lnTo>
                    <a:pt x="3341" y="782"/>
                  </a:lnTo>
                  <a:lnTo>
                    <a:pt x="3341" y="771"/>
                  </a:lnTo>
                  <a:lnTo>
                    <a:pt x="3337" y="761"/>
                  </a:lnTo>
                  <a:lnTo>
                    <a:pt x="3325" y="749"/>
                  </a:lnTo>
                  <a:lnTo>
                    <a:pt x="3311" y="738"/>
                  </a:lnTo>
                  <a:lnTo>
                    <a:pt x="3300" y="729"/>
                  </a:lnTo>
                  <a:lnTo>
                    <a:pt x="3290" y="726"/>
                  </a:lnTo>
                  <a:lnTo>
                    <a:pt x="3280" y="722"/>
                  </a:lnTo>
                  <a:lnTo>
                    <a:pt x="3272" y="722"/>
                  </a:lnTo>
                  <a:lnTo>
                    <a:pt x="3266" y="724"/>
                  </a:lnTo>
                  <a:lnTo>
                    <a:pt x="3261" y="728"/>
                  </a:lnTo>
                  <a:lnTo>
                    <a:pt x="3257" y="733"/>
                  </a:lnTo>
                  <a:lnTo>
                    <a:pt x="3249" y="738"/>
                  </a:lnTo>
                  <a:lnTo>
                    <a:pt x="3243" y="735"/>
                  </a:lnTo>
                  <a:lnTo>
                    <a:pt x="3243" y="721"/>
                  </a:lnTo>
                  <a:lnTo>
                    <a:pt x="3247" y="700"/>
                  </a:lnTo>
                  <a:lnTo>
                    <a:pt x="3253" y="679"/>
                  </a:lnTo>
                  <a:lnTo>
                    <a:pt x="3257" y="660"/>
                  </a:lnTo>
                  <a:lnTo>
                    <a:pt x="3257" y="644"/>
                  </a:lnTo>
                  <a:lnTo>
                    <a:pt x="3251" y="625"/>
                  </a:lnTo>
                  <a:lnTo>
                    <a:pt x="3249" y="604"/>
                  </a:lnTo>
                  <a:lnTo>
                    <a:pt x="3251" y="585"/>
                  </a:lnTo>
                  <a:lnTo>
                    <a:pt x="3245" y="561"/>
                  </a:lnTo>
                  <a:lnTo>
                    <a:pt x="3219" y="529"/>
                  </a:lnTo>
                  <a:lnTo>
                    <a:pt x="3202" y="514"/>
                  </a:lnTo>
                  <a:lnTo>
                    <a:pt x="3186" y="500"/>
                  </a:lnTo>
                  <a:lnTo>
                    <a:pt x="3174" y="489"/>
                  </a:lnTo>
                  <a:lnTo>
                    <a:pt x="3163" y="480"/>
                  </a:lnTo>
                  <a:lnTo>
                    <a:pt x="3151" y="475"/>
                  </a:lnTo>
                  <a:lnTo>
                    <a:pt x="3137" y="472"/>
                  </a:lnTo>
                  <a:lnTo>
                    <a:pt x="3122" y="468"/>
                  </a:lnTo>
                  <a:lnTo>
                    <a:pt x="3102" y="468"/>
                  </a:lnTo>
                  <a:lnTo>
                    <a:pt x="3082" y="468"/>
                  </a:lnTo>
                  <a:lnTo>
                    <a:pt x="3067" y="470"/>
                  </a:lnTo>
                  <a:lnTo>
                    <a:pt x="3053" y="472"/>
                  </a:lnTo>
                  <a:lnTo>
                    <a:pt x="3045" y="475"/>
                  </a:lnTo>
                  <a:lnTo>
                    <a:pt x="3037" y="480"/>
                  </a:lnTo>
                  <a:lnTo>
                    <a:pt x="3032" y="487"/>
                  </a:lnTo>
                  <a:lnTo>
                    <a:pt x="3026" y="498"/>
                  </a:lnTo>
                  <a:lnTo>
                    <a:pt x="3022" y="510"/>
                  </a:lnTo>
                  <a:lnTo>
                    <a:pt x="3014" y="534"/>
                  </a:lnTo>
                  <a:lnTo>
                    <a:pt x="3004" y="550"/>
                  </a:lnTo>
                  <a:lnTo>
                    <a:pt x="2992" y="559"/>
                  </a:lnTo>
                  <a:lnTo>
                    <a:pt x="2979" y="562"/>
                  </a:lnTo>
                  <a:lnTo>
                    <a:pt x="2971" y="564"/>
                  </a:lnTo>
                  <a:lnTo>
                    <a:pt x="2963" y="568"/>
                  </a:lnTo>
                  <a:lnTo>
                    <a:pt x="2955" y="573"/>
                  </a:lnTo>
                  <a:lnTo>
                    <a:pt x="2947" y="578"/>
                  </a:lnTo>
                  <a:lnTo>
                    <a:pt x="2938" y="583"/>
                  </a:lnTo>
                  <a:lnTo>
                    <a:pt x="2926" y="587"/>
                  </a:lnTo>
                  <a:lnTo>
                    <a:pt x="2914" y="588"/>
                  </a:lnTo>
                  <a:lnTo>
                    <a:pt x="2898" y="587"/>
                  </a:lnTo>
                  <a:lnTo>
                    <a:pt x="2881" y="583"/>
                  </a:lnTo>
                  <a:lnTo>
                    <a:pt x="2857" y="578"/>
                  </a:lnTo>
                  <a:lnTo>
                    <a:pt x="2834" y="571"/>
                  </a:lnTo>
                  <a:lnTo>
                    <a:pt x="2807" y="566"/>
                  </a:lnTo>
                  <a:lnTo>
                    <a:pt x="2779" y="562"/>
                  </a:lnTo>
                  <a:lnTo>
                    <a:pt x="2754" y="559"/>
                  </a:lnTo>
                  <a:lnTo>
                    <a:pt x="2732" y="559"/>
                  </a:lnTo>
                  <a:lnTo>
                    <a:pt x="2713" y="562"/>
                  </a:lnTo>
                  <a:lnTo>
                    <a:pt x="2699" y="566"/>
                  </a:lnTo>
                  <a:lnTo>
                    <a:pt x="2687" y="566"/>
                  </a:lnTo>
                  <a:lnTo>
                    <a:pt x="2679" y="564"/>
                  </a:lnTo>
                  <a:lnTo>
                    <a:pt x="2671" y="561"/>
                  </a:lnTo>
                  <a:lnTo>
                    <a:pt x="2664" y="557"/>
                  </a:lnTo>
                  <a:lnTo>
                    <a:pt x="2652" y="555"/>
                  </a:lnTo>
                  <a:lnTo>
                    <a:pt x="2640" y="555"/>
                  </a:lnTo>
                  <a:lnTo>
                    <a:pt x="2623" y="559"/>
                  </a:lnTo>
                  <a:lnTo>
                    <a:pt x="2605" y="562"/>
                  </a:lnTo>
                  <a:lnTo>
                    <a:pt x="2591" y="561"/>
                  </a:lnTo>
                  <a:lnTo>
                    <a:pt x="2581" y="557"/>
                  </a:lnTo>
                  <a:lnTo>
                    <a:pt x="2572" y="550"/>
                  </a:lnTo>
                  <a:lnTo>
                    <a:pt x="2564" y="543"/>
                  </a:lnTo>
                  <a:lnTo>
                    <a:pt x="2554" y="536"/>
                  </a:lnTo>
                  <a:lnTo>
                    <a:pt x="2542" y="531"/>
                  </a:lnTo>
                  <a:lnTo>
                    <a:pt x="2527" y="526"/>
                  </a:lnTo>
                  <a:lnTo>
                    <a:pt x="2509" y="519"/>
                  </a:lnTo>
                  <a:lnTo>
                    <a:pt x="2493" y="508"/>
                  </a:lnTo>
                  <a:lnTo>
                    <a:pt x="2478" y="493"/>
                  </a:lnTo>
                  <a:lnTo>
                    <a:pt x="2460" y="477"/>
                  </a:lnTo>
                  <a:lnTo>
                    <a:pt x="2439" y="463"/>
                  </a:lnTo>
                  <a:lnTo>
                    <a:pt x="2413" y="449"/>
                  </a:lnTo>
                  <a:lnTo>
                    <a:pt x="2382" y="440"/>
                  </a:lnTo>
                  <a:lnTo>
                    <a:pt x="2345" y="435"/>
                  </a:lnTo>
                  <a:lnTo>
                    <a:pt x="2309" y="432"/>
                  </a:lnTo>
                  <a:lnTo>
                    <a:pt x="2286" y="427"/>
                  </a:lnTo>
                  <a:lnTo>
                    <a:pt x="2270" y="418"/>
                  </a:lnTo>
                  <a:lnTo>
                    <a:pt x="2261" y="407"/>
                  </a:lnTo>
                  <a:lnTo>
                    <a:pt x="2255" y="395"/>
                  </a:lnTo>
                  <a:lnTo>
                    <a:pt x="2247" y="380"/>
                  </a:lnTo>
                  <a:lnTo>
                    <a:pt x="2235" y="364"/>
                  </a:lnTo>
                  <a:lnTo>
                    <a:pt x="2218" y="345"/>
                  </a:lnTo>
                  <a:lnTo>
                    <a:pt x="2200" y="327"/>
                  </a:lnTo>
                  <a:lnTo>
                    <a:pt x="2186" y="313"/>
                  </a:lnTo>
                  <a:lnTo>
                    <a:pt x="2176" y="301"/>
                  </a:lnTo>
                  <a:lnTo>
                    <a:pt x="2169" y="291"/>
                  </a:lnTo>
                  <a:lnTo>
                    <a:pt x="2159" y="282"/>
                  </a:lnTo>
                  <a:lnTo>
                    <a:pt x="2145" y="273"/>
                  </a:lnTo>
                  <a:lnTo>
                    <a:pt x="2127" y="265"/>
                  </a:lnTo>
                  <a:lnTo>
                    <a:pt x="2100" y="254"/>
                  </a:lnTo>
                  <a:lnTo>
                    <a:pt x="2073" y="244"/>
                  </a:lnTo>
                  <a:lnTo>
                    <a:pt x="2053" y="230"/>
                  </a:lnTo>
                  <a:lnTo>
                    <a:pt x="2039" y="218"/>
                  </a:lnTo>
                  <a:lnTo>
                    <a:pt x="2032" y="204"/>
                  </a:lnTo>
                  <a:lnTo>
                    <a:pt x="2026" y="191"/>
                  </a:lnTo>
                  <a:lnTo>
                    <a:pt x="2022" y="179"/>
                  </a:lnTo>
                  <a:lnTo>
                    <a:pt x="2018" y="169"/>
                  </a:lnTo>
                  <a:lnTo>
                    <a:pt x="2014" y="160"/>
                  </a:lnTo>
                  <a:lnTo>
                    <a:pt x="2008" y="153"/>
                  </a:lnTo>
                  <a:lnTo>
                    <a:pt x="2000" y="144"/>
                  </a:lnTo>
                  <a:lnTo>
                    <a:pt x="1994" y="136"/>
                  </a:lnTo>
                  <a:lnTo>
                    <a:pt x="1987" y="129"/>
                  </a:lnTo>
                  <a:lnTo>
                    <a:pt x="1977" y="120"/>
                  </a:lnTo>
                  <a:lnTo>
                    <a:pt x="1967" y="115"/>
                  </a:lnTo>
                  <a:lnTo>
                    <a:pt x="1957" y="110"/>
                  </a:lnTo>
                  <a:lnTo>
                    <a:pt x="1946" y="108"/>
                  </a:lnTo>
                  <a:lnTo>
                    <a:pt x="1934" y="104"/>
                  </a:lnTo>
                  <a:lnTo>
                    <a:pt x="1924" y="99"/>
                  </a:lnTo>
                  <a:lnTo>
                    <a:pt x="1914" y="91"/>
                  </a:lnTo>
                  <a:lnTo>
                    <a:pt x="1902" y="82"/>
                  </a:lnTo>
                  <a:lnTo>
                    <a:pt x="1891" y="73"/>
                  </a:lnTo>
                  <a:lnTo>
                    <a:pt x="1875" y="64"/>
                  </a:lnTo>
                  <a:lnTo>
                    <a:pt x="1855" y="57"/>
                  </a:lnTo>
                  <a:lnTo>
                    <a:pt x="1832" y="50"/>
                  </a:lnTo>
                  <a:lnTo>
                    <a:pt x="1812" y="45"/>
                  </a:lnTo>
                  <a:lnTo>
                    <a:pt x="1795" y="38"/>
                  </a:lnTo>
                  <a:lnTo>
                    <a:pt x="1779" y="30"/>
                  </a:lnTo>
                  <a:lnTo>
                    <a:pt x="1764" y="21"/>
                  </a:lnTo>
                  <a:lnTo>
                    <a:pt x="1748" y="12"/>
                  </a:lnTo>
                  <a:lnTo>
                    <a:pt x="1734" y="7"/>
                  </a:lnTo>
                  <a:lnTo>
                    <a:pt x="1720" y="2"/>
                  </a:lnTo>
                  <a:lnTo>
                    <a:pt x="1705" y="0"/>
                  </a:lnTo>
                  <a:lnTo>
                    <a:pt x="1697" y="0"/>
                  </a:lnTo>
                  <a:lnTo>
                    <a:pt x="1689" y="2"/>
                  </a:lnTo>
                  <a:lnTo>
                    <a:pt x="1681" y="3"/>
                  </a:lnTo>
                  <a:lnTo>
                    <a:pt x="1673" y="7"/>
                  </a:lnTo>
                  <a:lnTo>
                    <a:pt x="1656" y="17"/>
                  </a:lnTo>
                  <a:lnTo>
                    <a:pt x="1644" y="30"/>
                  </a:lnTo>
                  <a:lnTo>
                    <a:pt x="1636" y="40"/>
                  </a:lnTo>
                  <a:lnTo>
                    <a:pt x="1634" y="50"/>
                  </a:lnTo>
                  <a:lnTo>
                    <a:pt x="1634" y="61"/>
                  </a:lnTo>
                  <a:lnTo>
                    <a:pt x="1634" y="71"/>
                  </a:lnTo>
                  <a:lnTo>
                    <a:pt x="1634" y="84"/>
                  </a:lnTo>
                  <a:lnTo>
                    <a:pt x="1634" y="94"/>
                  </a:lnTo>
                  <a:lnTo>
                    <a:pt x="1630" y="111"/>
                  </a:lnTo>
                  <a:lnTo>
                    <a:pt x="1625" y="120"/>
                  </a:lnTo>
                  <a:lnTo>
                    <a:pt x="1615" y="120"/>
                  </a:lnTo>
                  <a:lnTo>
                    <a:pt x="1597" y="111"/>
                  </a:lnTo>
                  <a:lnTo>
                    <a:pt x="1585" y="106"/>
                  </a:lnTo>
                  <a:lnTo>
                    <a:pt x="1574" y="104"/>
                  </a:lnTo>
                  <a:lnTo>
                    <a:pt x="1560" y="106"/>
                  </a:lnTo>
                  <a:lnTo>
                    <a:pt x="1546" y="110"/>
                  </a:lnTo>
                  <a:lnTo>
                    <a:pt x="1535" y="117"/>
                  </a:lnTo>
                  <a:lnTo>
                    <a:pt x="1525" y="124"/>
                  </a:lnTo>
                  <a:lnTo>
                    <a:pt x="1517" y="132"/>
                  </a:lnTo>
                  <a:lnTo>
                    <a:pt x="1515" y="141"/>
                  </a:lnTo>
                  <a:lnTo>
                    <a:pt x="1515" y="157"/>
                  </a:lnTo>
                  <a:lnTo>
                    <a:pt x="1513" y="171"/>
                  </a:lnTo>
                  <a:lnTo>
                    <a:pt x="1503" y="178"/>
                  </a:lnTo>
                  <a:lnTo>
                    <a:pt x="1482" y="179"/>
                  </a:lnTo>
                  <a:lnTo>
                    <a:pt x="1470" y="179"/>
                  </a:lnTo>
                  <a:lnTo>
                    <a:pt x="1460" y="181"/>
                  </a:lnTo>
                  <a:lnTo>
                    <a:pt x="1454" y="186"/>
                  </a:lnTo>
                  <a:lnTo>
                    <a:pt x="1448" y="191"/>
                  </a:lnTo>
                  <a:lnTo>
                    <a:pt x="1441" y="197"/>
                  </a:lnTo>
                  <a:lnTo>
                    <a:pt x="1435" y="202"/>
                  </a:lnTo>
                  <a:lnTo>
                    <a:pt x="1425" y="205"/>
                  </a:lnTo>
                  <a:lnTo>
                    <a:pt x="1413" y="207"/>
                  </a:lnTo>
                  <a:lnTo>
                    <a:pt x="1400" y="209"/>
                  </a:lnTo>
                  <a:lnTo>
                    <a:pt x="1388" y="211"/>
                  </a:lnTo>
                  <a:lnTo>
                    <a:pt x="1374" y="216"/>
                  </a:lnTo>
                  <a:lnTo>
                    <a:pt x="1362" y="221"/>
                  </a:lnTo>
                  <a:lnTo>
                    <a:pt x="1351" y="226"/>
                  </a:lnTo>
                  <a:lnTo>
                    <a:pt x="1337" y="230"/>
                  </a:lnTo>
                  <a:lnTo>
                    <a:pt x="1325" y="233"/>
                  </a:lnTo>
                  <a:lnTo>
                    <a:pt x="1311" y="235"/>
                  </a:lnTo>
                  <a:lnTo>
                    <a:pt x="1298" y="237"/>
                  </a:lnTo>
                  <a:lnTo>
                    <a:pt x="1288" y="242"/>
                  </a:lnTo>
                  <a:lnTo>
                    <a:pt x="1278" y="249"/>
                  </a:lnTo>
                  <a:lnTo>
                    <a:pt x="1270" y="256"/>
                  </a:lnTo>
                  <a:lnTo>
                    <a:pt x="1265" y="266"/>
                  </a:lnTo>
                  <a:lnTo>
                    <a:pt x="1259" y="275"/>
                  </a:lnTo>
                  <a:lnTo>
                    <a:pt x="1255" y="284"/>
                  </a:lnTo>
                  <a:lnTo>
                    <a:pt x="1253" y="292"/>
                  </a:lnTo>
                  <a:lnTo>
                    <a:pt x="1249" y="312"/>
                  </a:lnTo>
                  <a:lnTo>
                    <a:pt x="1243" y="334"/>
                  </a:lnTo>
                  <a:lnTo>
                    <a:pt x="1243" y="359"/>
                  </a:lnTo>
                  <a:lnTo>
                    <a:pt x="1253" y="378"/>
                  </a:lnTo>
                  <a:lnTo>
                    <a:pt x="1270" y="390"/>
                  </a:lnTo>
                  <a:lnTo>
                    <a:pt x="1286" y="402"/>
                  </a:lnTo>
                  <a:lnTo>
                    <a:pt x="1294" y="416"/>
                  </a:lnTo>
                  <a:lnTo>
                    <a:pt x="1286" y="439"/>
                  </a:lnTo>
                  <a:lnTo>
                    <a:pt x="1278" y="468"/>
                  </a:lnTo>
                  <a:lnTo>
                    <a:pt x="1280" y="494"/>
                  </a:lnTo>
                  <a:lnTo>
                    <a:pt x="1276" y="517"/>
                  </a:lnTo>
                  <a:lnTo>
                    <a:pt x="1253" y="529"/>
                  </a:lnTo>
                  <a:lnTo>
                    <a:pt x="1233" y="534"/>
                  </a:lnTo>
                  <a:lnTo>
                    <a:pt x="1212" y="540"/>
                  </a:lnTo>
                  <a:lnTo>
                    <a:pt x="1190" y="545"/>
                  </a:lnTo>
                  <a:lnTo>
                    <a:pt x="1167" y="552"/>
                  </a:lnTo>
                  <a:lnTo>
                    <a:pt x="1145" y="561"/>
                  </a:lnTo>
                  <a:lnTo>
                    <a:pt x="1126" y="569"/>
                  </a:lnTo>
                  <a:lnTo>
                    <a:pt x="1106" y="578"/>
                  </a:lnTo>
                  <a:lnTo>
                    <a:pt x="1092" y="587"/>
                  </a:lnTo>
                  <a:lnTo>
                    <a:pt x="1079" y="595"/>
                  </a:lnTo>
                  <a:lnTo>
                    <a:pt x="1061" y="604"/>
                  </a:lnTo>
                  <a:lnTo>
                    <a:pt x="1043" y="613"/>
                  </a:lnTo>
                  <a:lnTo>
                    <a:pt x="1028" y="621"/>
                  </a:lnTo>
                  <a:lnTo>
                    <a:pt x="1014" y="632"/>
                  </a:lnTo>
                  <a:lnTo>
                    <a:pt x="1006" y="641"/>
                  </a:lnTo>
                  <a:lnTo>
                    <a:pt x="1006" y="649"/>
                  </a:lnTo>
                  <a:lnTo>
                    <a:pt x="1014" y="658"/>
                  </a:lnTo>
                  <a:lnTo>
                    <a:pt x="1028" y="665"/>
                  </a:lnTo>
                  <a:lnTo>
                    <a:pt x="1041" y="669"/>
                  </a:lnTo>
                  <a:lnTo>
                    <a:pt x="1055" y="672"/>
                  </a:lnTo>
                  <a:lnTo>
                    <a:pt x="1065" y="674"/>
                  </a:lnTo>
                  <a:lnTo>
                    <a:pt x="1071" y="677"/>
                  </a:lnTo>
                  <a:lnTo>
                    <a:pt x="1073" y="682"/>
                  </a:lnTo>
                  <a:lnTo>
                    <a:pt x="1067" y="691"/>
                  </a:lnTo>
                  <a:lnTo>
                    <a:pt x="1055" y="705"/>
                  </a:lnTo>
                  <a:lnTo>
                    <a:pt x="1036" y="735"/>
                  </a:lnTo>
                  <a:lnTo>
                    <a:pt x="1036" y="756"/>
                  </a:lnTo>
                  <a:lnTo>
                    <a:pt x="1045" y="773"/>
                  </a:lnTo>
                  <a:lnTo>
                    <a:pt x="1055" y="785"/>
                  </a:lnTo>
                  <a:lnTo>
                    <a:pt x="1059" y="796"/>
                  </a:lnTo>
                  <a:lnTo>
                    <a:pt x="1055" y="806"/>
                  </a:lnTo>
                  <a:lnTo>
                    <a:pt x="1043" y="813"/>
                  </a:lnTo>
                  <a:lnTo>
                    <a:pt x="1024" y="815"/>
                  </a:lnTo>
                  <a:lnTo>
                    <a:pt x="1012" y="815"/>
                  </a:lnTo>
                  <a:lnTo>
                    <a:pt x="1000" y="815"/>
                  </a:lnTo>
                  <a:lnTo>
                    <a:pt x="991" y="815"/>
                  </a:lnTo>
                  <a:lnTo>
                    <a:pt x="981" y="815"/>
                  </a:lnTo>
                  <a:lnTo>
                    <a:pt x="973" y="813"/>
                  </a:lnTo>
                  <a:lnTo>
                    <a:pt x="965" y="811"/>
                  </a:lnTo>
                  <a:lnTo>
                    <a:pt x="959" y="808"/>
                  </a:lnTo>
                  <a:lnTo>
                    <a:pt x="955" y="801"/>
                  </a:lnTo>
                  <a:lnTo>
                    <a:pt x="949" y="794"/>
                  </a:lnTo>
                  <a:lnTo>
                    <a:pt x="942" y="789"/>
                  </a:lnTo>
                  <a:lnTo>
                    <a:pt x="932" y="785"/>
                  </a:lnTo>
                  <a:lnTo>
                    <a:pt x="922" y="782"/>
                  </a:lnTo>
                  <a:lnTo>
                    <a:pt x="912" y="780"/>
                  </a:lnTo>
                  <a:lnTo>
                    <a:pt x="904" y="778"/>
                  </a:lnTo>
                  <a:lnTo>
                    <a:pt x="899" y="776"/>
                  </a:lnTo>
                  <a:lnTo>
                    <a:pt x="897" y="776"/>
                  </a:lnTo>
                  <a:lnTo>
                    <a:pt x="895" y="775"/>
                  </a:lnTo>
                  <a:lnTo>
                    <a:pt x="891" y="773"/>
                  </a:lnTo>
                  <a:lnTo>
                    <a:pt x="883" y="769"/>
                  </a:lnTo>
                  <a:lnTo>
                    <a:pt x="875" y="768"/>
                  </a:lnTo>
                  <a:lnTo>
                    <a:pt x="865" y="766"/>
                  </a:lnTo>
                  <a:lnTo>
                    <a:pt x="856" y="766"/>
                  </a:lnTo>
                  <a:lnTo>
                    <a:pt x="846" y="769"/>
                  </a:lnTo>
                  <a:lnTo>
                    <a:pt x="838" y="776"/>
                  </a:lnTo>
                  <a:lnTo>
                    <a:pt x="830" y="785"/>
                  </a:lnTo>
                  <a:lnTo>
                    <a:pt x="822" y="790"/>
                  </a:lnTo>
                  <a:lnTo>
                    <a:pt x="812" y="794"/>
                  </a:lnTo>
                  <a:lnTo>
                    <a:pt x="805" y="796"/>
                  </a:lnTo>
                  <a:lnTo>
                    <a:pt x="795" y="794"/>
                  </a:lnTo>
                  <a:lnTo>
                    <a:pt x="785" y="789"/>
                  </a:lnTo>
                  <a:lnTo>
                    <a:pt x="775" y="782"/>
                  </a:lnTo>
                  <a:lnTo>
                    <a:pt x="764" y="771"/>
                  </a:lnTo>
                  <a:lnTo>
                    <a:pt x="752" y="759"/>
                  </a:lnTo>
                  <a:lnTo>
                    <a:pt x="742" y="749"/>
                  </a:lnTo>
                  <a:lnTo>
                    <a:pt x="732" y="740"/>
                  </a:lnTo>
                  <a:lnTo>
                    <a:pt x="724" y="731"/>
                  </a:lnTo>
                  <a:lnTo>
                    <a:pt x="717" y="724"/>
                  </a:lnTo>
                  <a:lnTo>
                    <a:pt x="709" y="719"/>
                  </a:lnTo>
                  <a:lnTo>
                    <a:pt x="701" y="714"/>
                  </a:lnTo>
                  <a:lnTo>
                    <a:pt x="693" y="710"/>
                  </a:lnTo>
                  <a:lnTo>
                    <a:pt x="683" y="703"/>
                  </a:lnTo>
                  <a:lnTo>
                    <a:pt x="679" y="695"/>
                  </a:lnTo>
                  <a:lnTo>
                    <a:pt x="681" y="684"/>
                  </a:lnTo>
                  <a:lnTo>
                    <a:pt x="683" y="672"/>
                  </a:lnTo>
                  <a:lnTo>
                    <a:pt x="677" y="656"/>
                  </a:lnTo>
                  <a:lnTo>
                    <a:pt x="664" y="642"/>
                  </a:lnTo>
                  <a:lnTo>
                    <a:pt x="646" y="635"/>
                  </a:lnTo>
                  <a:lnTo>
                    <a:pt x="629" y="639"/>
                  </a:lnTo>
                  <a:lnTo>
                    <a:pt x="615" y="653"/>
                  </a:lnTo>
                  <a:lnTo>
                    <a:pt x="605" y="669"/>
                  </a:lnTo>
                  <a:lnTo>
                    <a:pt x="595" y="686"/>
                  </a:lnTo>
                  <a:lnTo>
                    <a:pt x="582" y="700"/>
                  </a:lnTo>
                  <a:lnTo>
                    <a:pt x="572" y="716"/>
                  </a:lnTo>
                  <a:lnTo>
                    <a:pt x="572" y="738"/>
                  </a:lnTo>
                  <a:lnTo>
                    <a:pt x="570" y="759"/>
                  </a:lnTo>
                  <a:lnTo>
                    <a:pt x="560" y="771"/>
                  </a:lnTo>
                  <a:lnTo>
                    <a:pt x="552" y="775"/>
                  </a:lnTo>
                  <a:lnTo>
                    <a:pt x="544" y="776"/>
                  </a:lnTo>
                  <a:lnTo>
                    <a:pt x="537" y="776"/>
                  </a:lnTo>
                  <a:lnTo>
                    <a:pt x="529" y="776"/>
                  </a:lnTo>
                  <a:lnTo>
                    <a:pt x="521" y="775"/>
                  </a:lnTo>
                  <a:lnTo>
                    <a:pt x="513" y="773"/>
                  </a:lnTo>
                  <a:lnTo>
                    <a:pt x="503" y="771"/>
                  </a:lnTo>
                  <a:lnTo>
                    <a:pt x="492" y="768"/>
                  </a:lnTo>
                  <a:lnTo>
                    <a:pt x="478" y="764"/>
                  </a:lnTo>
                  <a:lnTo>
                    <a:pt x="460" y="763"/>
                  </a:lnTo>
                  <a:lnTo>
                    <a:pt x="443" y="763"/>
                  </a:lnTo>
                  <a:lnTo>
                    <a:pt x="425" y="764"/>
                  </a:lnTo>
                  <a:lnTo>
                    <a:pt x="409" y="764"/>
                  </a:lnTo>
                  <a:lnTo>
                    <a:pt x="396" y="766"/>
                  </a:lnTo>
                  <a:lnTo>
                    <a:pt x="388" y="768"/>
                  </a:lnTo>
                  <a:lnTo>
                    <a:pt x="384" y="768"/>
                  </a:lnTo>
                  <a:lnTo>
                    <a:pt x="382" y="769"/>
                  </a:lnTo>
                  <a:lnTo>
                    <a:pt x="376" y="773"/>
                  </a:lnTo>
                  <a:lnTo>
                    <a:pt x="364" y="773"/>
                  </a:lnTo>
                  <a:lnTo>
                    <a:pt x="347" y="763"/>
                  </a:lnTo>
                  <a:lnTo>
                    <a:pt x="335" y="756"/>
                  </a:lnTo>
                  <a:lnTo>
                    <a:pt x="321" y="750"/>
                  </a:lnTo>
                  <a:lnTo>
                    <a:pt x="308" y="747"/>
                  </a:lnTo>
                  <a:lnTo>
                    <a:pt x="294" y="749"/>
                  </a:lnTo>
                  <a:lnTo>
                    <a:pt x="280" y="750"/>
                  </a:lnTo>
                  <a:lnTo>
                    <a:pt x="270" y="757"/>
                  </a:lnTo>
                  <a:lnTo>
                    <a:pt x="263" y="766"/>
                  </a:lnTo>
                  <a:lnTo>
                    <a:pt x="261" y="776"/>
                  </a:lnTo>
                  <a:lnTo>
                    <a:pt x="259" y="789"/>
                  </a:lnTo>
                  <a:lnTo>
                    <a:pt x="257" y="799"/>
                  </a:lnTo>
                  <a:lnTo>
                    <a:pt x="251" y="808"/>
                  </a:lnTo>
                  <a:lnTo>
                    <a:pt x="245" y="813"/>
                  </a:lnTo>
                  <a:lnTo>
                    <a:pt x="235" y="816"/>
                  </a:lnTo>
                  <a:lnTo>
                    <a:pt x="223" y="815"/>
                  </a:lnTo>
                  <a:lnTo>
                    <a:pt x="208" y="811"/>
                  </a:lnTo>
                  <a:lnTo>
                    <a:pt x="192" y="801"/>
                  </a:lnTo>
                  <a:lnTo>
                    <a:pt x="175" y="790"/>
                  </a:lnTo>
                  <a:lnTo>
                    <a:pt x="157" y="783"/>
                  </a:lnTo>
                  <a:lnTo>
                    <a:pt x="141" y="780"/>
                  </a:lnTo>
                  <a:lnTo>
                    <a:pt x="126" y="778"/>
                  </a:lnTo>
                  <a:lnTo>
                    <a:pt x="112" y="778"/>
                  </a:lnTo>
                  <a:lnTo>
                    <a:pt x="96" y="780"/>
                  </a:lnTo>
                  <a:lnTo>
                    <a:pt x="83" y="782"/>
                  </a:lnTo>
                  <a:lnTo>
                    <a:pt x="69" y="782"/>
                  </a:lnTo>
                  <a:lnTo>
                    <a:pt x="55" y="782"/>
                  </a:lnTo>
                  <a:lnTo>
                    <a:pt x="43" y="782"/>
                  </a:lnTo>
                  <a:lnTo>
                    <a:pt x="32" y="782"/>
                  </a:lnTo>
                  <a:lnTo>
                    <a:pt x="20" y="782"/>
                  </a:lnTo>
                  <a:lnTo>
                    <a:pt x="12" y="782"/>
                  </a:lnTo>
                  <a:lnTo>
                    <a:pt x="6" y="782"/>
                  </a:lnTo>
                  <a:lnTo>
                    <a:pt x="2" y="782"/>
                  </a:lnTo>
                  <a:lnTo>
                    <a:pt x="0" y="782"/>
                  </a:lnTo>
                  <a:lnTo>
                    <a:pt x="2" y="794"/>
                  </a:lnTo>
                  <a:lnTo>
                    <a:pt x="8" y="820"/>
                  </a:lnTo>
                  <a:lnTo>
                    <a:pt x="16" y="851"/>
                  </a:lnTo>
                  <a:lnTo>
                    <a:pt x="22" y="876"/>
                  </a:lnTo>
                  <a:lnTo>
                    <a:pt x="28" y="893"/>
                  </a:lnTo>
                  <a:lnTo>
                    <a:pt x="36" y="909"/>
                  </a:lnTo>
                  <a:lnTo>
                    <a:pt x="41" y="924"/>
                  </a:lnTo>
                  <a:lnTo>
                    <a:pt x="43" y="938"/>
                  </a:lnTo>
                  <a:lnTo>
                    <a:pt x="40" y="961"/>
                  </a:lnTo>
                  <a:lnTo>
                    <a:pt x="38" y="994"/>
                  </a:lnTo>
                  <a:lnTo>
                    <a:pt x="40" y="1032"/>
                  </a:lnTo>
                  <a:lnTo>
                    <a:pt x="47" y="1065"/>
                  </a:lnTo>
                  <a:lnTo>
                    <a:pt x="53" y="1079"/>
                  </a:lnTo>
                  <a:lnTo>
                    <a:pt x="61" y="1095"/>
                  </a:lnTo>
                  <a:lnTo>
                    <a:pt x="71" y="1111"/>
                  </a:lnTo>
                  <a:lnTo>
                    <a:pt x="81" y="1125"/>
                  </a:lnTo>
                  <a:lnTo>
                    <a:pt x="88" y="1137"/>
                  </a:lnTo>
                  <a:lnTo>
                    <a:pt x="98" y="1149"/>
                  </a:lnTo>
                  <a:lnTo>
                    <a:pt x="106" y="1158"/>
                  </a:lnTo>
                  <a:lnTo>
                    <a:pt x="112" y="1165"/>
                  </a:lnTo>
                  <a:lnTo>
                    <a:pt x="124" y="1175"/>
                  </a:lnTo>
                  <a:lnTo>
                    <a:pt x="139" y="1186"/>
                  </a:lnTo>
                  <a:lnTo>
                    <a:pt x="153" y="1203"/>
                  </a:lnTo>
                  <a:lnTo>
                    <a:pt x="165" y="1236"/>
                  </a:lnTo>
                  <a:lnTo>
                    <a:pt x="171" y="1257"/>
                  </a:lnTo>
                  <a:lnTo>
                    <a:pt x="178" y="1274"/>
                  </a:lnTo>
                  <a:lnTo>
                    <a:pt x="184" y="1288"/>
                  </a:lnTo>
                  <a:lnTo>
                    <a:pt x="192" y="1300"/>
                  </a:lnTo>
                  <a:lnTo>
                    <a:pt x="200" y="1311"/>
                  </a:lnTo>
                  <a:lnTo>
                    <a:pt x="208" y="1318"/>
                  </a:lnTo>
                  <a:lnTo>
                    <a:pt x="216" y="1323"/>
                  </a:lnTo>
                  <a:lnTo>
                    <a:pt x="223" y="1327"/>
                  </a:lnTo>
                  <a:lnTo>
                    <a:pt x="235" y="1325"/>
                  </a:lnTo>
                  <a:lnTo>
                    <a:pt x="241" y="1316"/>
                  </a:lnTo>
                  <a:lnTo>
                    <a:pt x="247" y="1313"/>
                  </a:lnTo>
                  <a:lnTo>
                    <a:pt x="261" y="1318"/>
                  </a:lnTo>
                  <a:lnTo>
                    <a:pt x="276" y="1318"/>
                  </a:lnTo>
                  <a:lnTo>
                    <a:pt x="284" y="1295"/>
                  </a:lnTo>
                  <a:lnTo>
                    <a:pt x="292" y="1262"/>
                  </a:lnTo>
                  <a:lnTo>
                    <a:pt x="304" y="1233"/>
                  </a:lnTo>
                  <a:lnTo>
                    <a:pt x="317" y="1213"/>
                  </a:lnTo>
                  <a:lnTo>
                    <a:pt x="329" y="1201"/>
                  </a:lnTo>
                  <a:lnTo>
                    <a:pt x="341" y="1198"/>
                  </a:lnTo>
                  <a:lnTo>
                    <a:pt x="357" y="1199"/>
                  </a:lnTo>
                  <a:lnTo>
                    <a:pt x="374" y="1196"/>
                  </a:lnTo>
                  <a:lnTo>
                    <a:pt x="384" y="1184"/>
                  </a:lnTo>
                  <a:lnTo>
                    <a:pt x="388" y="1163"/>
                  </a:lnTo>
                  <a:lnTo>
                    <a:pt x="390" y="1137"/>
                  </a:lnTo>
                  <a:lnTo>
                    <a:pt x="392" y="1111"/>
                  </a:lnTo>
                  <a:lnTo>
                    <a:pt x="400" y="1088"/>
                  </a:lnTo>
                  <a:lnTo>
                    <a:pt x="411" y="1069"/>
                  </a:lnTo>
                  <a:lnTo>
                    <a:pt x="427" y="1051"/>
                  </a:lnTo>
                  <a:lnTo>
                    <a:pt x="439" y="1034"/>
                  </a:lnTo>
                  <a:lnTo>
                    <a:pt x="445" y="1015"/>
                  </a:lnTo>
                  <a:lnTo>
                    <a:pt x="450" y="992"/>
                  </a:lnTo>
                  <a:lnTo>
                    <a:pt x="458" y="961"/>
                  </a:lnTo>
                  <a:lnTo>
                    <a:pt x="464" y="945"/>
                  </a:lnTo>
                  <a:lnTo>
                    <a:pt x="470" y="931"/>
                  </a:lnTo>
                  <a:lnTo>
                    <a:pt x="476" y="921"/>
                  </a:lnTo>
                  <a:lnTo>
                    <a:pt x="484" y="914"/>
                  </a:lnTo>
                  <a:lnTo>
                    <a:pt x="494" y="910"/>
                  </a:lnTo>
                  <a:lnTo>
                    <a:pt x="505" y="910"/>
                  </a:lnTo>
                  <a:lnTo>
                    <a:pt x="521" y="914"/>
                  </a:lnTo>
                  <a:lnTo>
                    <a:pt x="539" y="923"/>
                  </a:lnTo>
                  <a:lnTo>
                    <a:pt x="558" y="933"/>
                  </a:lnTo>
                  <a:lnTo>
                    <a:pt x="580" y="945"/>
                  </a:lnTo>
                  <a:lnTo>
                    <a:pt x="603" y="956"/>
                  </a:lnTo>
                  <a:lnTo>
                    <a:pt x="625" y="968"/>
                  </a:lnTo>
                  <a:lnTo>
                    <a:pt x="644" y="980"/>
                  </a:lnTo>
                  <a:lnTo>
                    <a:pt x="664" y="994"/>
                  </a:lnTo>
                  <a:lnTo>
                    <a:pt x="679" y="1008"/>
                  </a:lnTo>
                  <a:lnTo>
                    <a:pt x="693" y="1024"/>
                  </a:lnTo>
                  <a:lnTo>
                    <a:pt x="705" y="1039"/>
                  </a:lnTo>
                  <a:lnTo>
                    <a:pt x="719" y="1053"/>
                  </a:lnTo>
                  <a:lnTo>
                    <a:pt x="732" y="1065"/>
                  </a:lnTo>
                  <a:lnTo>
                    <a:pt x="746" y="1076"/>
                  </a:lnTo>
                  <a:lnTo>
                    <a:pt x="760" y="1085"/>
                  </a:lnTo>
                  <a:lnTo>
                    <a:pt x="771" y="1092"/>
                  </a:lnTo>
                  <a:lnTo>
                    <a:pt x="783" y="1097"/>
                  </a:lnTo>
                  <a:lnTo>
                    <a:pt x="795" y="1099"/>
                  </a:lnTo>
                  <a:lnTo>
                    <a:pt x="811" y="1112"/>
                  </a:lnTo>
                  <a:lnTo>
                    <a:pt x="818" y="1140"/>
                  </a:lnTo>
                  <a:lnTo>
                    <a:pt x="824" y="1173"/>
                  </a:lnTo>
                  <a:lnTo>
                    <a:pt x="832" y="1203"/>
                  </a:lnTo>
                  <a:lnTo>
                    <a:pt x="836" y="1229"/>
                  </a:lnTo>
                  <a:lnTo>
                    <a:pt x="828" y="1262"/>
                  </a:lnTo>
                  <a:lnTo>
                    <a:pt x="818" y="1306"/>
                  </a:lnTo>
                  <a:lnTo>
                    <a:pt x="816" y="1365"/>
                  </a:lnTo>
                  <a:lnTo>
                    <a:pt x="822" y="1398"/>
                  </a:lnTo>
                  <a:lnTo>
                    <a:pt x="832" y="1426"/>
                  </a:lnTo>
                  <a:lnTo>
                    <a:pt x="848" y="1454"/>
                  </a:lnTo>
                  <a:lnTo>
                    <a:pt x="867" y="1478"/>
                  </a:lnTo>
                  <a:lnTo>
                    <a:pt x="889" y="1502"/>
                  </a:lnTo>
                  <a:lnTo>
                    <a:pt x="912" y="1527"/>
                  </a:lnTo>
                  <a:lnTo>
                    <a:pt x="936" y="1549"/>
                  </a:lnTo>
                  <a:lnTo>
                    <a:pt x="959" y="1574"/>
                  </a:lnTo>
                  <a:lnTo>
                    <a:pt x="987" y="1600"/>
                  </a:lnTo>
                  <a:lnTo>
                    <a:pt x="1018" y="1626"/>
                  </a:lnTo>
                  <a:lnTo>
                    <a:pt x="1051" y="1652"/>
                  </a:lnTo>
                  <a:lnTo>
                    <a:pt x="1083" y="1678"/>
                  </a:lnTo>
                  <a:lnTo>
                    <a:pt x="1112" y="1701"/>
                  </a:lnTo>
                  <a:lnTo>
                    <a:pt x="1133" y="1720"/>
                  </a:lnTo>
                  <a:lnTo>
                    <a:pt x="1147" y="1732"/>
                  </a:lnTo>
                  <a:lnTo>
                    <a:pt x="1147" y="1737"/>
                  </a:lnTo>
                  <a:lnTo>
                    <a:pt x="1139" y="1737"/>
                  </a:lnTo>
                  <a:lnTo>
                    <a:pt x="1128" y="1734"/>
                  </a:lnTo>
                  <a:lnTo>
                    <a:pt x="1112" y="1729"/>
                  </a:lnTo>
                  <a:lnTo>
                    <a:pt x="1094" y="1722"/>
                  </a:lnTo>
                  <a:lnTo>
                    <a:pt x="1079" y="1717"/>
                  </a:lnTo>
                  <a:lnTo>
                    <a:pt x="1061" y="1713"/>
                  </a:lnTo>
                  <a:lnTo>
                    <a:pt x="1047" y="1713"/>
                  </a:lnTo>
                  <a:lnTo>
                    <a:pt x="1036" y="1718"/>
                  </a:lnTo>
                  <a:lnTo>
                    <a:pt x="1020" y="1732"/>
                  </a:lnTo>
                  <a:lnTo>
                    <a:pt x="1012" y="1743"/>
                  </a:lnTo>
                  <a:lnTo>
                    <a:pt x="1004" y="1748"/>
                  </a:lnTo>
                  <a:lnTo>
                    <a:pt x="993" y="1743"/>
                  </a:lnTo>
                  <a:lnTo>
                    <a:pt x="975" y="1732"/>
                  </a:lnTo>
                  <a:lnTo>
                    <a:pt x="959" y="1727"/>
                  </a:lnTo>
                  <a:lnTo>
                    <a:pt x="951" y="1730"/>
                  </a:lnTo>
                  <a:lnTo>
                    <a:pt x="955" y="1748"/>
                  </a:lnTo>
                  <a:lnTo>
                    <a:pt x="961" y="1760"/>
                  </a:lnTo>
                  <a:lnTo>
                    <a:pt x="965" y="1772"/>
                  </a:lnTo>
                  <a:lnTo>
                    <a:pt x="971" y="1786"/>
                  </a:lnTo>
                  <a:lnTo>
                    <a:pt x="977" y="1800"/>
                  </a:lnTo>
                  <a:lnTo>
                    <a:pt x="985" y="1817"/>
                  </a:lnTo>
                  <a:lnTo>
                    <a:pt x="996" y="1833"/>
                  </a:lnTo>
                  <a:lnTo>
                    <a:pt x="1010" y="1854"/>
                  </a:lnTo>
                  <a:lnTo>
                    <a:pt x="1030" y="1875"/>
                  </a:lnTo>
                  <a:lnTo>
                    <a:pt x="1053" y="1898"/>
                  </a:lnTo>
                  <a:lnTo>
                    <a:pt x="1077" y="1920"/>
                  </a:lnTo>
                  <a:lnTo>
                    <a:pt x="1102" y="1941"/>
                  </a:lnTo>
                  <a:lnTo>
                    <a:pt x="1126" y="1962"/>
                  </a:lnTo>
                  <a:lnTo>
                    <a:pt x="1149" y="1981"/>
                  </a:lnTo>
                  <a:lnTo>
                    <a:pt x="1171" y="2000"/>
                  </a:lnTo>
                  <a:lnTo>
                    <a:pt x="1190" y="2019"/>
                  </a:lnTo>
                  <a:lnTo>
                    <a:pt x="1206" y="2037"/>
                  </a:lnTo>
                  <a:lnTo>
                    <a:pt x="1225" y="2066"/>
                  </a:lnTo>
                  <a:lnTo>
                    <a:pt x="1233" y="2087"/>
                  </a:lnTo>
                  <a:lnTo>
                    <a:pt x="1239" y="2100"/>
                  </a:lnTo>
                  <a:lnTo>
                    <a:pt x="1253" y="2103"/>
                  </a:lnTo>
                  <a:lnTo>
                    <a:pt x="1268" y="2103"/>
                  </a:lnTo>
                  <a:lnTo>
                    <a:pt x="1278" y="2103"/>
                  </a:lnTo>
                  <a:lnTo>
                    <a:pt x="1286" y="2105"/>
                  </a:lnTo>
                  <a:lnTo>
                    <a:pt x="1302" y="2113"/>
                  </a:lnTo>
                  <a:lnTo>
                    <a:pt x="1311" y="2119"/>
                  </a:lnTo>
                  <a:lnTo>
                    <a:pt x="1321" y="2122"/>
                  </a:lnTo>
                  <a:lnTo>
                    <a:pt x="1333" y="2127"/>
                  </a:lnTo>
                  <a:lnTo>
                    <a:pt x="1345" y="2131"/>
                  </a:lnTo>
                  <a:lnTo>
                    <a:pt x="1355" y="2134"/>
                  </a:lnTo>
                  <a:lnTo>
                    <a:pt x="1366" y="2136"/>
                  </a:lnTo>
                  <a:lnTo>
                    <a:pt x="1376" y="2140"/>
                  </a:lnTo>
                  <a:lnTo>
                    <a:pt x="1386" y="2141"/>
                  </a:lnTo>
                  <a:lnTo>
                    <a:pt x="1403" y="2148"/>
                  </a:lnTo>
                  <a:lnTo>
                    <a:pt x="1417" y="2160"/>
                  </a:lnTo>
                  <a:lnTo>
                    <a:pt x="1427" y="2178"/>
                  </a:lnTo>
                  <a:lnTo>
                    <a:pt x="1429" y="2202"/>
                  </a:lnTo>
                  <a:lnTo>
                    <a:pt x="1427" y="2232"/>
                  </a:lnTo>
                  <a:lnTo>
                    <a:pt x="1427" y="2261"/>
                  </a:lnTo>
                  <a:lnTo>
                    <a:pt x="1437" y="2289"/>
                  </a:lnTo>
                  <a:lnTo>
                    <a:pt x="1462" y="2312"/>
                  </a:lnTo>
                  <a:lnTo>
                    <a:pt x="1480" y="2321"/>
                  </a:lnTo>
                  <a:lnTo>
                    <a:pt x="1497" y="2326"/>
                  </a:lnTo>
                  <a:lnTo>
                    <a:pt x="1515" y="2329"/>
                  </a:lnTo>
                  <a:lnTo>
                    <a:pt x="1533" y="2331"/>
                  </a:lnTo>
                  <a:lnTo>
                    <a:pt x="1552" y="2329"/>
                  </a:lnTo>
                  <a:lnTo>
                    <a:pt x="1574" y="2324"/>
                  </a:lnTo>
                  <a:lnTo>
                    <a:pt x="1599" y="2317"/>
                  </a:lnTo>
                  <a:lnTo>
                    <a:pt x="1625" y="2307"/>
                  </a:lnTo>
                  <a:lnTo>
                    <a:pt x="1652" y="2296"/>
                  </a:lnTo>
                  <a:lnTo>
                    <a:pt x="1681" y="2291"/>
                  </a:lnTo>
                  <a:lnTo>
                    <a:pt x="1707" y="2288"/>
                  </a:lnTo>
                  <a:lnTo>
                    <a:pt x="1728" y="2289"/>
                  </a:lnTo>
                  <a:lnTo>
                    <a:pt x="1746" y="2291"/>
                  </a:lnTo>
                  <a:lnTo>
                    <a:pt x="1756" y="2294"/>
                  </a:lnTo>
                  <a:lnTo>
                    <a:pt x="1760" y="2300"/>
                  </a:lnTo>
                  <a:lnTo>
                    <a:pt x="1752" y="2303"/>
                  </a:lnTo>
                  <a:lnTo>
                    <a:pt x="1736" y="2308"/>
                  </a:lnTo>
                  <a:lnTo>
                    <a:pt x="1734" y="2314"/>
                  </a:lnTo>
                  <a:lnTo>
                    <a:pt x="1746" y="2315"/>
                  </a:lnTo>
                  <a:lnTo>
                    <a:pt x="1769" y="2317"/>
                  </a:lnTo>
                  <a:lnTo>
                    <a:pt x="1783" y="2319"/>
                  </a:lnTo>
                  <a:lnTo>
                    <a:pt x="1795" y="2322"/>
                  </a:lnTo>
                  <a:lnTo>
                    <a:pt x="1807" y="2328"/>
                  </a:lnTo>
                  <a:lnTo>
                    <a:pt x="1818" y="2335"/>
                  </a:lnTo>
                  <a:lnTo>
                    <a:pt x="1828" y="2341"/>
                  </a:lnTo>
                  <a:lnTo>
                    <a:pt x="1840" y="2348"/>
                  </a:lnTo>
                  <a:lnTo>
                    <a:pt x="1852" y="2355"/>
                  </a:lnTo>
                  <a:lnTo>
                    <a:pt x="1865" y="2359"/>
                  </a:lnTo>
                  <a:lnTo>
                    <a:pt x="1883" y="2364"/>
                  </a:lnTo>
                  <a:lnTo>
                    <a:pt x="1906" y="2369"/>
                  </a:lnTo>
                  <a:lnTo>
                    <a:pt x="1936" y="2375"/>
                  </a:lnTo>
                  <a:lnTo>
                    <a:pt x="1965" y="2383"/>
                  </a:lnTo>
                  <a:lnTo>
                    <a:pt x="1996" y="2394"/>
                  </a:lnTo>
                  <a:lnTo>
                    <a:pt x="2024" y="2406"/>
                  </a:lnTo>
                  <a:lnTo>
                    <a:pt x="2047" y="2420"/>
                  </a:lnTo>
                  <a:lnTo>
                    <a:pt x="2063" y="2436"/>
                  </a:lnTo>
                  <a:lnTo>
                    <a:pt x="2077" y="2455"/>
                  </a:lnTo>
                  <a:lnTo>
                    <a:pt x="2094" y="2476"/>
                  </a:lnTo>
                  <a:lnTo>
                    <a:pt x="2114" y="2496"/>
                  </a:lnTo>
                  <a:lnTo>
                    <a:pt x="2137" y="2517"/>
                  </a:lnTo>
                  <a:lnTo>
                    <a:pt x="2159" y="2536"/>
                  </a:lnTo>
                  <a:lnTo>
                    <a:pt x="2180" y="2554"/>
                  </a:lnTo>
                  <a:lnTo>
                    <a:pt x="2202" y="2568"/>
                  </a:lnTo>
                  <a:lnTo>
                    <a:pt x="2221" y="2578"/>
                  </a:lnTo>
                  <a:lnTo>
                    <a:pt x="2239" y="2585"/>
                  </a:lnTo>
                  <a:lnTo>
                    <a:pt x="2255" y="2590"/>
                  </a:lnTo>
                  <a:lnTo>
                    <a:pt x="2268" y="2596"/>
                  </a:lnTo>
                  <a:lnTo>
                    <a:pt x="2280" y="2601"/>
                  </a:lnTo>
                  <a:lnTo>
                    <a:pt x="2290" y="2606"/>
                  </a:lnTo>
                  <a:lnTo>
                    <a:pt x="2300" y="2615"/>
                  </a:lnTo>
                  <a:lnTo>
                    <a:pt x="2309" y="2624"/>
                  </a:lnTo>
                  <a:lnTo>
                    <a:pt x="2317" y="2634"/>
                  </a:lnTo>
                  <a:lnTo>
                    <a:pt x="2325" y="2644"/>
                  </a:lnTo>
                  <a:lnTo>
                    <a:pt x="2337" y="2653"/>
                  </a:lnTo>
                  <a:lnTo>
                    <a:pt x="2347" y="2658"/>
                  </a:lnTo>
                  <a:lnTo>
                    <a:pt x="2358" y="2664"/>
                  </a:lnTo>
                  <a:lnTo>
                    <a:pt x="2368" y="2669"/>
                  </a:lnTo>
                  <a:lnTo>
                    <a:pt x="2380" y="2677"/>
                  </a:lnTo>
                  <a:lnTo>
                    <a:pt x="2390" y="2686"/>
                  </a:lnTo>
                  <a:lnTo>
                    <a:pt x="2398" y="2700"/>
                  </a:lnTo>
                  <a:lnTo>
                    <a:pt x="2405" y="2714"/>
                  </a:lnTo>
                  <a:lnTo>
                    <a:pt x="2415" y="2724"/>
                  </a:lnTo>
                  <a:lnTo>
                    <a:pt x="2423" y="2731"/>
                  </a:lnTo>
                  <a:lnTo>
                    <a:pt x="2433" y="2737"/>
                  </a:lnTo>
                  <a:lnTo>
                    <a:pt x="2443" y="2738"/>
                  </a:lnTo>
                  <a:lnTo>
                    <a:pt x="2452" y="2740"/>
                  </a:lnTo>
                  <a:lnTo>
                    <a:pt x="2462" y="2742"/>
                  </a:lnTo>
                  <a:lnTo>
                    <a:pt x="2472" y="2744"/>
                  </a:lnTo>
                  <a:lnTo>
                    <a:pt x="2484" y="2745"/>
                  </a:lnTo>
                  <a:lnTo>
                    <a:pt x="2495" y="2744"/>
                  </a:lnTo>
                  <a:lnTo>
                    <a:pt x="2507" y="2742"/>
                  </a:lnTo>
                  <a:lnTo>
                    <a:pt x="2521" y="2737"/>
                  </a:lnTo>
                  <a:lnTo>
                    <a:pt x="2531" y="2731"/>
                  </a:lnTo>
                  <a:lnTo>
                    <a:pt x="2540" y="2724"/>
                  </a:lnTo>
                  <a:lnTo>
                    <a:pt x="2546" y="2716"/>
                  </a:lnTo>
                  <a:lnTo>
                    <a:pt x="2548" y="2705"/>
                  </a:lnTo>
                  <a:lnTo>
                    <a:pt x="2548" y="2695"/>
                  </a:lnTo>
                  <a:lnTo>
                    <a:pt x="2544" y="2683"/>
                  </a:lnTo>
                  <a:lnTo>
                    <a:pt x="2540" y="2671"/>
                  </a:lnTo>
                  <a:lnTo>
                    <a:pt x="2535" y="2660"/>
                  </a:lnTo>
                  <a:lnTo>
                    <a:pt x="2525" y="2648"/>
                  </a:lnTo>
                  <a:lnTo>
                    <a:pt x="2513" y="2637"/>
                  </a:lnTo>
                  <a:lnTo>
                    <a:pt x="2499" y="2629"/>
                  </a:lnTo>
                  <a:lnTo>
                    <a:pt x="2484" y="2620"/>
                  </a:lnTo>
                  <a:lnTo>
                    <a:pt x="2466" y="2611"/>
                  </a:lnTo>
                  <a:lnTo>
                    <a:pt x="2446" y="2603"/>
                  </a:lnTo>
                  <a:lnTo>
                    <a:pt x="2429" y="2592"/>
                  </a:lnTo>
                  <a:lnTo>
                    <a:pt x="2413" y="2582"/>
                  </a:lnTo>
                  <a:lnTo>
                    <a:pt x="2399" y="2570"/>
                  </a:lnTo>
                  <a:lnTo>
                    <a:pt x="2388" y="2559"/>
                  </a:lnTo>
                  <a:lnTo>
                    <a:pt x="2378" y="2549"/>
                  </a:lnTo>
                  <a:lnTo>
                    <a:pt x="2372" y="2540"/>
                  </a:lnTo>
                  <a:lnTo>
                    <a:pt x="2362" y="2526"/>
                  </a:lnTo>
                  <a:lnTo>
                    <a:pt x="2351" y="2516"/>
                  </a:lnTo>
                  <a:lnTo>
                    <a:pt x="2335" y="2509"/>
                  </a:lnTo>
                  <a:lnTo>
                    <a:pt x="2317" y="2496"/>
                  </a:lnTo>
                  <a:lnTo>
                    <a:pt x="2309" y="2486"/>
                  </a:lnTo>
                  <a:lnTo>
                    <a:pt x="2302" y="2467"/>
                  </a:lnTo>
                  <a:lnTo>
                    <a:pt x="2294" y="2444"/>
                  </a:lnTo>
                  <a:lnTo>
                    <a:pt x="2288" y="2420"/>
                  </a:lnTo>
                  <a:lnTo>
                    <a:pt x="2282" y="2394"/>
                  </a:lnTo>
                  <a:lnTo>
                    <a:pt x="2274" y="2371"/>
                  </a:lnTo>
                  <a:lnTo>
                    <a:pt x="2264" y="2350"/>
                  </a:lnTo>
                  <a:lnTo>
                    <a:pt x="2255" y="2336"/>
                  </a:lnTo>
                  <a:lnTo>
                    <a:pt x="2241" y="2326"/>
                  </a:lnTo>
                  <a:lnTo>
                    <a:pt x="2221" y="2315"/>
                  </a:lnTo>
                  <a:lnTo>
                    <a:pt x="2202" y="2305"/>
                  </a:lnTo>
                  <a:lnTo>
                    <a:pt x="2180" y="2294"/>
                  </a:lnTo>
                  <a:lnTo>
                    <a:pt x="2161" y="2284"/>
                  </a:lnTo>
                  <a:lnTo>
                    <a:pt x="2141" y="2274"/>
                  </a:lnTo>
                  <a:lnTo>
                    <a:pt x="2127" y="2263"/>
                  </a:lnTo>
                  <a:lnTo>
                    <a:pt x="2116" y="2251"/>
                  </a:lnTo>
                  <a:lnTo>
                    <a:pt x="2106" y="2239"/>
                  </a:lnTo>
                  <a:lnTo>
                    <a:pt x="2090" y="2227"/>
                  </a:lnTo>
                  <a:lnTo>
                    <a:pt x="2073" y="2213"/>
                  </a:lnTo>
                  <a:lnTo>
                    <a:pt x="2055" y="2200"/>
                  </a:lnTo>
                  <a:lnTo>
                    <a:pt x="2037" y="2187"/>
                  </a:lnTo>
                  <a:lnTo>
                    <a:pt x="2022" y="2174"/>
                  </a:lnTo>
                  <a:lnTo>
                    <a:pt x="2010" y="2160"/>
                  </a:lnTo>
                  <a:lnTo>
                    <a:pt x="2004" y="2147"/>
                  </a:lnTo>
                  <a:lnTo>
                    <a:pt x="1998" y="2134"/>
                  </a:lnTo>
                  <a:lnTo>
                    <a:pt x="1992" y="2126"/>
                  </a:lnTo>
                  <a:lnTo>
                    <a:pt x="1987" y="2120"/>
                  </a:lnTo>
                  <a:lnTo>
                    <a:pt x="1979" y="2115"/>
                  </a:lnTo>
                  <a:lnTo>
                    <a:pt x="1969" y="2112"/>
                  </a:lnTo>
                  <a:lnTo>
                    <a:pt x="1961" y="2106"/>
                  </a:lnTo>
                  <a:lnTo>
                    <a:pt x="1953" y="2100"/>
                  </a:lnTo>
                  <a:lnTo>
                    <a:pt x="1946" y="2089"/>
                  </a:lnTo>
                  <a:lnTo>
                    <a:pt x="1938" y="2075"/>
                  </a:lnTo>
                  <a:lnTo>
                    <a:pt x="1928" y="2059"/>
                  </a:lnTo>
                  <a:lnTo>
                    <a:pt x="1918" y="2042"/>
                  </a:lnTo>
                  <a:lnTo>
                    <a:pt x="1908" y="2025"/>
                  </a:lnTo>
                  <a:lnTo>
                    <a:pt x="1897" y="2007"/>
                  </a:lnTo>
                  <a:lnTo>
                    <a:pt x="1885" y="1990"/>
                  </a:lnTo>
                  <a:lnTo>
                    <a:pt x="1873" y="1976"/>
                  </a:lnTo>
                  <a:lnTo>
                    <a:pt x="1859" y="1965"/>
                  </a:lnTo>
                  <a:lnTo>
                    <a:pt x="1846" y="1955"/>
                  </a:lnTo>
                  <a:lnTo>
                    <a:pt x="1834" y="1945"/>
                  </a:lnTo>
                  <a:lnTo>
                    <a:pt x="1822" y="1934"/>
                  </a:lnTo>
                  <a:lnTo>
                    <a:pt x="1810" y="1922"/>
                  </a:lnTo>
                  <a:lnTo>
                    <a:pt x="1799" y="1913"/>
                  </a:lnTo>
                  <a:lnTo>
                    <a:pt x="1789" y="1905"/>
                  </a:lnTo>
                  <a:lnTo>
                    <a:pt x="1779" y="1898"/>
                  </a:lnTo>
                  <a:lnTo>
                    <a:pt x="1769" y="1894"/>
                  </a:lnTo>
                  <a:lnTo>
                    <a:pt x="1758" y="1891"/>
                  </a:lnTo>
                  <a:lnTo>
                    <a:pt x="1746" y="1885"/>
                  </a:lnTo>
                  <a:lnTo>
                    <a:pt x="1734" y="1877"/>
                  </a:lnTo>
                  <a:lnTo>
                    <a:pt x="1722" y="1868"/>
                  </a:lnTo>
                  <a:lnTo>
                    <a:pt x="1711" y="1858"/>
                  </a:lnTo>
                  <a:lnTo>
                    <a:pt x="1703" y="1847"/>
                  </a:lnTo>
                  <a:lnTo>
                    <a:pt x="1695" y="1838"/>
                  </a:lnTo>
                  <a:lnTo>
                    <a:pt x="1689" y="1828"/>
                  </a:lnTo>
                  <a:lnTo>
                    <a:pt x="1677" y="1809"/>
                  </a:lnTo>
                  <a:lnTo>
                    <a:pt x="1660" y="1790"/>
                  </a:lnTo>
                  <a:lnTo>
                    <a:pt x="1646" y="1776"/>
                  </a:lnTo>
                  <a:lnTo>
                    <a:pt x="1640" y="1770"/>
                  </a:lnTo>
                  <a:lnTo>
                    <a:pt x="1638" y="1762"/>
                  </a:lnTo>
                  <a:lnTo>
                    <a:pt x="1634" y="1743"/>
                  </a:lnTo>
                  <a:lnTo>
                    <a:pt x="1630" y="1718"/>
                  </a:lnTo>
                  <a:lnTo>
                    <a:pt x="1634" y="1699"/>
                  </a:lnTo>
                  <a:lnTo>
                    <a:pt x="1634" y="1687"/>
                  </a:lnTo>
                  <a:lnTo>
                    <a:pt x="1623" y="1675"/>
                  </a:lnTo>
                  <a:lnTo>
                    <a:pt x="1605" y="1663"/>
                  </a:lnTo>
                  <a:lnTo>
                    <a:pt x="1593" y="1647"/>
                  </a:lnTo>
                  <a:lnTo>
                    <a:pt x="1587" y="1623"/>
                  </a:lnTo>
                  <a:lnTo>
                    <a:pt x="1585" y="1589"/>
                  </a:lnTo>
                  <a:lnTo>
                    <a:pt x="1580" y="1556"/>
                  </a:lnTo>
                  <a:lnTo>
                    <a:pt x="1566" y="1530"/>
                  </a:lnTo>
                  <a:lnTo>
                    <a:pt x="1546" y="1513"/>
                  </a:lnTo>
                  <a:lnTo>
                    <a:pt x="1531" y="1495"/>
                  </a:lnTo>
                  <a:lnTo>
                    <a:pt x="1519" y="1483"/>
                  </a:lnTo>
                  <a:lnTo>
                    <a:pt x="1515" y="1478"/>
                  </a:lnTo>
                  <a:lnTo>
                    <a:pt x="1511" y="1471"/>
                  </a:lnTo>
                  <a:lnTo>
                    <a:pt x="1503" y="1454"/>
                  </a:lnTo>
                  <a:lnTo>
                    <a:pt x="1488" y="1431"/>
                  </a:lnTo>
                  <a:lnTo>
                    <a:pt x="1466" y="1407"/>
                  </a:lnTo>
                  <a:lnTo>
                    <a:pt x="1454" y="1398"/>
                  </a:lnTo>
                  <a:lnTo>
                    <a:pt x="1445" y="1389"/>
                  </a:lnTo>
                  <a:lnTo>
                    <a:pt x="1435" y="1384"/>
                  </a:lnTo>
                  <a:lnTo>
                    <a:pt x="1427" y="1377"/>
                  </a:lnTo>
                  <a:lnTo>
                    <a:pt x="1417" y="1374"/>
                  </a:lnTo>
                  <a:lnTo>
                    <a:pt x="1411" y="1368"/>
                  </a:lnTo>
                  <a:lnTo>
                    <a:pt x="1403" y="1365"/>
                  </a:lnTo>
                  <a:lnTo>
                    <a:pt x="1398" y="1360"/>
                  </a:lnTo>
                  <a:lnTo>
                    <a:pt x="1384" y="1347"/>
                  </a:lnTo>
                  <a:lnTo>
                    <a:pt x="1368" y="1334"/>
                  </a:lnTo>
                  <a:lnTo>
                    <a:pt x="1358" y="1318"/>
                  </a:lnTo>
                  <a:lnTo>
                    <a:pt x="1364" y="1304"/>
                  </a:lnTo>
                  <a:lnTo>
                    <a:pt x="1374" y="1288"/>
                  </a:lnTo>
                  <a:lnTo>
                    <a:pt x="1376" y="1269"/>
                  </a:lnTo>
                  <a:lnTo>
                    <a:pt x="1372" y="1250"/>
                  </a:lnTo>
                  <a:lnTo>
                    <a:pt x="1364" y="1233"/>
                  </a:lnTo>
                  <a:lnTo>
                    <a:pt x="1360" y="1196"/>
                  </a:lnTo>
                  <a:lnTo>
                    <a:pt x="1360" y="1139"/>
                  </a:lnTo>
                  <a:lnTo>
                    <a:pt x="1362" y="1085"/>
                  </a:lnTo>
                  <a:lnTo>
                    <a:pt x="1364" y="1062"/>
                  </a:lnTo>
                  <a:lnTo>
                    <a:pt x="1392" y="1018"/>
                  </a:lnTo>
                  <a:lnTo>
                    <a:pt x="1488" y="1024"/>
                  </a:lnTo>
                  <a:lnTo>
                    <a:pt x="1488" y="1029"/>
                  </a:lnTo>
                  <a:lnTo>
                    <a:pt x="1490" y="1041"/>
                  </a:lnTo>
                  <a:lnTo>
                    <a:pt x="1499" y="1058"/>
                  </a:lnTo>
                  <a:lnTo>
                    <a:pt x="1521" y="1079"/>
                  </a:lnTo>
                  <a:lnTo>
                    <a:pt x="1533" y="1090"/>
                  </a:lnTo>
                  <a:lnTo>
                    <a:pt x="1544" y="1100"/>
                  </a:lnTo>
                  <a:lnTo>
                    <a:pt x="1552" y="1109"/>
                  </a:lnTo>
                  <a:lnTo>
                    <a:pt x="1560" y="1118"/>
                  </a:lnTo>
                  <a:lnTo>
                    <a:pt x="1568" y="1126"/>
                  </a:lnTo>
                  <a:lnTo>
                    <a:pt x="1574" y="1133"/>
                  </a:lnTo>
                  <a:lnTo>
                    <a:pt x="1578" y="1142"/>
                  </a:lnTo>
                  <a:lnTo>
                    <a:pt x="1582" y="1151"/>
                  </a:lnTo>
                  <a:lnTo>
                    <a:pt x="1587" y="1159"/>
                  </a:lnTo>
                  <a:lnTo>
                    <a:pt x="1595" y="1166"/>
                  </a:lnTo>
                  <a:lnTo>
                    <a:pt x="1605" y="1173"/>
                  </a:lnTo>
                  <a:lnTo>
                    <a:pt x="1615" y="1179"/>
                  </a:lnTo>
                  <a:lnTo>
                    <a:pt x="1627" y="1184"/>
                  </a:lnTo>
                  <a:lnTo>
                    <a:pt x="1640" y="1187"/>
                  </a:lnTo>
                  <a:lnTo>
                    <a:pt x="1654" y="1189"/>
                  </a:lnTo>
                  <a:lnTo>
                    <a:pt x="1668" y="1189"/>
                  </a:lnTo>
                  <a:lnTo>
                    <a:pt x="1681" y="1187"/>
                  </a:lnTo>
                  <a:lnTo>
                    <a:pt x="1693" y="1184"/>
                  </a:lnTo>
                  <a:lnTo>
                    <a:pt x="1705" y="1179"/>
                  </a:lnTo>
                  <a:lnTo>
                    <a:pt x="1715" y="1172"/>
                  </a:lnTo>
                  <a:lnTo>
                    <a:pt x="1722" y="1165"/>
                  </a:lnTo>
                  <a:lnTo>
                    <a:pt x="1728" y="1156"/>
                  </a:lnTo>
                  <a:lnTo>
                    <a:pt x="1734" y="1146"/>
                  </a:lnTo>
                  <a:lnTo>
                    <a:pt x="1736" y="1137"/>
                  </a:lnTo>
                  <a:lnTo>
                    <a:pt x="1740" y="1126"/>
                  </a:lnTo>
                  <a:lnTo>
                    <a:pt x="1746" y="1112"/>
                  </a:lnTo>
                  <a:lnTo>
                    <a:pt x="1756" y="1095"/>
                  </a:lnTo>
                  <a:lnTo>
                    <a:pt x="1765" y="1079"/>
                  </a:lnTo>
                  <a:lnTo>
                    <a:pt x="1775" y="1062"/>
                  </a:lnTo>
                  <a:lnTo>
                    <a:pt x="1785" y="1048"/>
                  </a:lnTo>
                  <a:lnTo>
                    <a:pt x="1793" y="1036"/>
                  </a:lnTo>
                  <a:lnTo>
                    <a:pt x="1801" y="1027"/>
                  </a:lnTo>
                  <a:lnTo>
                    <a:pt x="1807" y="1022"/>
                  </a:lnTo>
                  <a:lnTo>
                    <a:pt x="1814" y="1018"/>
                  </a:lnTo>
                  <a:lnTo>
                    <a:pt x="1822" y="1017"/>
                  </a:lnTo>
                  <a:lnTo>
                    <a:pt x="1832" y="1015"/>
                  </a:lnTo>
                  <a:lnTo>
                    <a:pt x="1842" y="1015"/>
                  </a:lnTo>
                  <a:lnTo>
                    <a:pt x="1852" y="1017"/>
                  </a:lnTo>
                  <a:lnTo>
                    <a:pt x="1863" y="1018"/>
                  </a:lnTo>
                  <a:lnTo>
                    <a:pt x="1875" y="1024"/>
                  </a:lnTo>
                  <a:lnTo>
                    <a:pt x="1889" y="1029"/>
                  </a:lnTo>
                  <a:lnTo>
                    <a:pt x="1904" y="1034"/>
                  </a:lnTo>
                  <a:lnTo>
                    <a:pt x="1924" y="1038"/>
                  </a:lnTo>
                  <a:lnTo>
                    <a:pt x="1944" y="1039"/>
                  </a:lnTo>
                  <a:lnTo>
                    <a:pt x="1963" y="1038"/>
                  </a:lnTo>
                  <a:lnTo>
                    <a:pt x="1983" y="1036"/>
                  </a:lnTo>
                  <a:lnTo>
                    <a:pt x="2002" y="1029"/>
                  </a:lnTo>
                  <a:lnTo>
                    <a:pt x="2020" y="1018"/>
                  </a:lnTo>
                  <a:lnTo>
                    <a:pt x="2036" y="1010"/>
                  </a:lnTo>
                  <a:lnTo>
                    <a:pt x="2053" y="1008"/>
                  </a:lnTo>
                  <a:lnTo>
                    <a:pt x="2069" y="1013"/>
                  </a:lnTo>
                  <a:lnTo>
                    <a:pt x="2082" y="1020"/>
                  </a:lnTo>
                  <a:lnTo>
                    <a:pt x="2096" y="1031"/>
                  </a:lnTo>
                  <a:lnTo>
                    <a:pt x="2108" y="1041"/>
                  </a:lnTo>
                  <a:lnTo>
                    <a:pt x="2118" y="1050"/>
                  </a:lnTo>
                  <a:lnTo>
                    <a:pt x="2126" y="1057"/>
                  </a:lnTo>
                  <a:lnTo>
                    <a:pt x="2133" y="1062"/>
                  </a:lnTo>
                  <a:lnTo>
                    <a:pt x="2145" y="1067"/>
                  </a:lnTo>
                  <a:lnTo>
                    <a:pt x="2161" y="1071"/>
                  </a:lnTo>
                  <a:lnTo>
                    <a:pt x="2178" y="1072"/>
                  </a:lnTo>
                  <a:lnTo>
                    <a:pt x="2196" y="1074"/>
                  </a:lnTo>
                  <a:lnTo>
                    <a:pt x="2216" y="1072"/>
                  </a:lnTo>
                  <a:lnTo>
                    <a:pt x="2235" y="1069"/>
                  </a:lnTo>
                  <a:lnTo>
                    <a:pt x="2255" y="1062"/>
                  </a:lnTo>
                  <a:lnTo>
                    <a:pt x="2257" y="1064"/>
                  </a:lnTo>
                  <a:lnTo>
                    <a:pt x="2263" y="1065"/>
                  </a:lnTo>
                  <a:lnTo>
                    <a:pt x="2270" y="1069"/>
                  </a:lnTo>
                  <a:lnTo>
                    <a:pt x="2282" y="1071"/>
                  </a:lnTo>
                  <a:lnTo>
                    <a:pt x="2296" y="1074"/>
                  </a:lnTo>
                  <a:lnTo>
                    <a:pt x="2308" y="1076"/>
                  </a:lnTo>
                  <a:lnTo>
                    <a:pt x="2321" y="1074"/>
                  </a:lnTo>
                  <a:lnTo>
                    <a:pt x="2335" y="1071"/>
                  </a:lnTo>
                  <a:lnTo>
                    <a:pt x="2339" y="1072"/>
                  </a:lnTo>
                  <a:lnTo>
                    <a:pt x="2347" y="1078"/>
                  </a:lnTo>
                  <a:lnTo>
                    <a:pt x="2362" y="1085"/>
                  </a:lnTo>
                  <a:lnTo>
                    <a:pt x="2380" y="1093"/>
                  </a:lnTo>
                  <a:lnTo>
                    <a:pt x="2399" y="1099"/>
                  </a:lnTo>
                  <a:lnTo>
                    <a:pt x="2423" y="1100"/>
                  </a:lnTo>
                  <a:lnTo>
                    <a:pt x="2445" y="1099"/>
                  </a:lnTo>
                  <a:lnTo>
                    <a:pt x="2468" y="1090"/>
                  </a:lnTo>
                  <a:lnTo>
                    <a:pt x="2470" y="1090"/>
                  </a:lnTo>
                  <a:lnTo>
                    <a:pt x="2474" y="1088"/>
                  </a:lnTo>
                  <a:lnTo>
                    <a:pt x="2482" y="1086"/>
                  </a:lnTo>
                  <a:lnTo>
                    <a:pt x="2490" y="1086"/>
                  </a:lnTo>
                  <a:lnTo>
                    <a:pt x="2499" y="1088"/>
                  </a:lnTo>
                  <a:lnTo>
                    <a:pt x="2509" y="1092"/>
                  </a:lnTo>
                  <a:lnTo>
                    <a:pt x="2519" y="1099"/>
                  </a:lnTo>
                  <a:lnTo>
                    <a:pt x="2527" y="1109"/>
                  </a:lnTo>
                  <a:lnTo>
                    <a:pt x="2538" y="1119"/>
                  </a:lnTo>
                  <a:lnTo>
                    <a:pt x="2556" y="1128"/>
                  </a:lnTo>
                  <a:lnTo>
                    <a:pt x="2576" y="1133"/>
                  </a:lnTo>
                  <a:lnTo>
                    <a:pt x="2599" y="1135"/>
                  </a:lnTo>
                  <a:lnTo>
                    <a:pt x="2623" y="1132"/>
                  </a:lnTo>
                  <a:lnTo>
                    <a:pt x="2646" y="1123"/>
                  </a:lnTo>
                  <a:lnTo>
                    <a:pt x="2666" y="1109"/>
                  </a:lnTo>
                  <a:lnTo>
                    <a:pt x="2681" y="1090"/>
                  </a:lnTo>
                  <a:lnTo>
                    <a:pt x="2685" y="1085"/>
                  </a:lnTo>
                  <a:lnTo>
                    <a:pt x="2697" y="1078"/>
                  </a:lnTo>
                  <a:lnTo>
                    <a:pt x="2709" y="1079"/>
                  </a:lnTo>
                  <a:lnTo>
                    <a:pt x="2722" y="1099"/>
                  </a:lnTo>
                  <a:lnTo>
                    <a:pt x="2732" y="1112"/>
                  </a:lnTo>
                  <a:lnTo>
                    <a:pt x="2746" y="1119"/>
                  </a:lnTo>
                  <a:lnTo>
                    <a:pt x="2763" y="1121"/>
                  </a:lnTo>
                  <a:lnTo>
                    <a:pt x="2783" y="1119"/>
                  </a:lnTo>
                  <a:lnTo>
                    <a:pt x="2801" y="1116"/>
                  </a:lnTo>
                  <a:lnTo>
                    <a:pt x="2816" y="1111"/>
                  </a:lnTo>
                  <a:lnTo>
                    <a:pt x="2826" y="1104"/>
                  </a:lnTo>
                  <a:lnTo>
                    <a:pt x="2830" y="1099"/>
                  </a:lnTo>
                  <a:lnTo>
                    <a:pt x="2836" y="1092"/>
                  </a:lnTo>
                  <a:lnTo>
                    <a:pt x="2852" y="1088"/>
                  </a:lnTo>
                  <a:lnTo>
                    <a:pt x="2867" y="1090"/>
                  </a:lnTo>
                  <a:lnTo>
                    <a:pt x="2873" y="1090"/>
                  </a:lnTo>
                  <a:lnTo>
                    <a:pt x="2936" y="1099"/>
                  </a:lnTo>
                  <a:close/>
                </a:path>
              </a:pathLst>
            </a:custGeom>
            <a:solidFill>
              <a:srgbClr val="6B7BF1">
                <a:alpha val="89803"/>
              </a:srgbClr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r-HR"/>
            </a:p>
          </p:txBody>
        </p:sp>
        <p:grpSp>
          <p:nvGrpSpPr>
            <p:cNvPr id="143" name="Group 5"/>
            <p:cNvGrpSpPr>
              <a:grpSpLocks/>
            </p:cNvGrpSpPr>
            <p:nvPr/>
          </p:nvGrpSpPr>
          <p:grpSpPr bwMode="auto">
            <a:xfrm>
              <a:off x="3061" y="2433"/>
              <a:ext cx="2586" cy="1865"/>
              <a:chOff x="3061" y="2433"/>
              <a:chExt cx="2586" cy="1865"/>
            </a:xfrm>
          </p:grpSpPr>
          <p:sp>
            <p:nvSpPr>
              <p:cNvPr id="147" name="Freeform 6"/>
              <p:cNvSpPr>
                <a:spLocks/>
              </p:cNvSpPr>
              <p:nvPr/>
            </p:nvSpPr>
            <p:spPr bwMode="auto">
              <a:xfrm>
                <a:off x="4351" y="4071"/>
                <a:ext cx="4" cy="6"/>
              </a:xfrm>
              <a:custGeom>
                <a:avLst/>
                <a:gdLst>
                  <a:gd name="T0" fmla="*/ 0 w 6"/>
                  <a:gd name="T1" fmla="*/ 0 h 11"/>
                  <a:gd name="T2" fmla="*/ 1 w 6"/>
                  <a:gd name="T3" fmla="*/ 1 h 11"/>
                  <a:gd name="T4" fmla="*/ 1 w 6"/>
                  <a:gd name="T5" fmla="*/ 1 h 11"/>
                  <a:gd name="T6" fmla="*/ 1 w 6"/>
                  <a:gd name="T7" fmla="*/ 1 h 11"/>
                  <a:gd name="T8" fmla="*/ 1 w 6"/>
                  <a:gd name="T9" fmla="*/ 1 h 11"/>
                  <a:gd name="T10" fmla="*/ 1 w 6"/>
                  <a:gd name="T11" fmla="*/ 1 h 11"/>
                  <a:gd name="T12" fmla="*/ 1 w 6"/>
                  <a:gd name="T13" fmla="*/ 1 h 11"/>
                  <a:gd name="T14" fmla="*/ 1 w 6"/>
                  <a:gd name="T15" fmla="*/ 1 h 11"/>
                  <a:gd name="T16" fmla="*/ 0 w 6"/>
                  <a:gd name="T17" fmla="*/ 0 h 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11"/>
                  <a:gd name="T29" fmla="*/ 6 w 6"/>
                  <a:gd name="T30" fmla="*/ 11 h 1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11">
                    <a:moveTo>
                      <a:pt x="0" y="0"/>
                    </a:moveTo>
                    <a:lnTo>
                      <a:pt x="2" y="2"/>
                    </a:lnTo>
                    <a:lnTo>
                      <a:pt x="4" y="6"/>
                    </a:lnTo>
                    <a:lnTo>
                      <a:pt x="4" y="7"/>
                    </a:lnTo>
                    <a:lnTo>
                      <a:pt x="6" y="11"/>
                    </a:lnTo>
                    <a:lnTo>
                      <a:pt x="6" y="7"/>
                    </a:lnTo>
                    <a:lnTo>
                      <a:pt x="4" y="6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48" name="Freeform 7"/>
              <p:cNvSpPr>
                <a:spLocks/>
              </p:cNvSpPr>
              <p:nvPr/>
            </p:nvSpPr>
            <p:spPr bwMode="auto">
              <a:xfrm>
                <a:off x="3061" y="2888"/>
                <a:ext cx="272" cy="329"/>
              </a:xfrm>
              <a:custGeom>
                <a:avLst/>
                <a:gdLst>
                  <a:gd name="T0" fmla="*/ 1 w 391"/>
                  <a:gd name="T1" fmla="*/ 1 h 548"/>
                  <a:gd name="T2" fmla="*/ 1 w 391"/>
                  <a:gd name="T3" fmla="*/ 1 h 548"/>
                  <a:gd name="T4" fmla="*/ 1 w 391"/>
                  <a:gd name="T5" fmla="*/ 1 h 548"/>
                  <a:gd name="T6" fmla="*/ 1 w 391"/>
                  <a:gd name="T7" fmla="*/ 1 h 548"/>
                  <a:gd name="T8" fmla="*/ 1 w 391"/>
                  <a:gd name="T9" fmla="*/ 1 h 548"/>
                  <a:gd name="T10" fmla="*/ 1 w 391"/>
                  <a:gd name="T11" fmla="*/ 1 h 548"/>
                  <a:gd name="T12" fmla="*/ 1 w 391"/>
                  <a:gd name="T13" fmla="*/ 1 h 548"/>
                  <a:gd name="T14" fmla="*/ 1 w 391"/>
                  <a:gd name="T15" fmla="*/ 1 h 548"/>
                  <a:gd name="T16" fmla="*/ 1 w 391"/>
                  <a:gd name="T17" fmla="*/ 1 h 548"/>
                  <a:gd name="T18" fmla="*/ 1 w 391"/>
                  <a:gd name="T19" fmla="*/ 1 h 548"/>
                  <a:gd name="T20" fmla="*/ 1 w 391"/>
                  <a:gd name="T21" fmla="*/ 1 h 548"/>
                  <a:gd name="T22" fmla="*/ 1 w 391"/>
                  <a:gd name="T23" fmla="*/ 1 h 548"/>
                  <a:gd name="T24" fmla="*/ 1 w 391"/>
                  <a:gd name="T25" fmla="*/ 1 h 548"/>
                  <a:gd name="T26" fmla="*/ 1 w 391"/>
                  <a:gd name="T27" fmla="*/ 1 h 548"/>
                  <a:gd name="T28" fmla="*/ 1 w 391"/>
                  <a:gd name="T29" fmla="*/ 1 h 548"/>
                  <a:gd name="T30" fmla="*/ 1 w 391"/>
                  <a:gd name="T31" fmla="*/ 0 h 548"/>
                  <a:gd name="T32" fmla="*/ 1 w 391"/>
                  <a:gd name="T33" fmla="*/ 1 h 548"/>
                  <a:gd name="T34" fmla="*/ 1 w 391"/>
                  <a:gd name="T35" fmla="*/ 1 h 548"/>
                  <a:gd name="T36" fmla="*/ 1 w 391"/>
                  <a:gd name="T37" fmla="*/ 1 h 548"/>
                  <a:gd name="T38" fmla="*/ 1 w 391"/>
                  <a:gd name="T39" fmla="*/ 1 h 548"/>
                  <a:gd name="T40" fmla="*/ 1 w 391"/>
                  <a:gd name="T41" fmla="*/ 1 h 548"/>
                  <a:gd name="T42" fmla="*/ 1 w 391"/>
                  <a:gd name="T43" fmla="*/ 1 h 548"/>
                  <a:gd name="T44" fmla="*/ 1 w 391"/>
                  <a:gd name="T45" fmla="*/ 1 h 548"/>
                  <a:gd name="T46" fmla="*/ 1 w 391"/>
                  <a:gd name="T47" fmla="*/ 1 h 548"/>
                  <a:gd name="T48" fmla="*/ 1 w 391"/>
                  <a:gd name="T49" fmla="*/ 1 h 548"/>
                  <a:gd name="T50" fmla="*/ 1 w 391"/>
                  <a:gd name="T51" fmla="*/ 1 h 548"/>
                  <a:gd name="T52" fmla="*/ 1 w 391"/>
                  <a:gd name="T53" fmla="*/ 1 h 548"/>
                  <a:gd name="T54" fmla="*/ 1 w 391"/>
                  <a:gd name="T55" fmla="*/ 1 h 548"/>
                  <a:gd name="T56" fmla="*/ 1 w 391"/>
                  <a:gd name="T57" fmla="*/ 1 h 548"/>
                  <a:gd name="T58" fmla="*/ 1 w 391"/>
                  <a:gd name="T59" fmla="*/ 1 h 548"/>
                  <a:gd name="T60" fmla="*/ 1 w 391"/>
                  <a:gd name="T61" fmla="*/ 1 h 548"/>
                  <a:gd name="T62" fmla="*/ 1 w 391"/>
                  <a:gd name="T63" fmla="*/ 1 h 548"/>
                  <a:gd name="T64" fmla="*/ 1 w 391"/>
                  <a:gd name="T65" fmla="*/ 1 h 548"/>
                  <a:gd name="T66" fmla="*/ 1 w 391"/>
                  <a:gd name="T67" fmla="*/ 1 h 548"/>
                  <a:gd name="T68" fmla="*/ 1 w 391"/>
                  <a:gd name="T69" fmla="*/ 1 h 548"/>
                  <a:gd name="T70" fmla="*/ 1 w 391"/>
                  <a:gd name="T71" fmla="*/ 1 h 548"/>
                  <a:gd name="T72" fmla="*/ 1 w 391"/>
                  <a:gd name="T73" fmla="*/ 1 h 548"/>
                  <a:gd name="T74" fmla="*/ 1 w 391"/>
                  <a:gd name="T75" fmla="*/ 1 h 548"/>
                  <a:gd name="T76" fmla="*/ 1 w 391"/>
                  <a:gd name="T77" fmla="*/ 1 h 548"/>
                  <a:gd name="T78" fmla="*/ 1 w 391"/>
                  <a:gd name="T79" fmla="*/ 1 h 548"/>
                  <a:gd name="T80" fmla="*/ 1 w 391"/>
                  <a:gd name="T81" fmla="*/ 1 h 548"/>
                  <a:gd name="T82" fmla="*/ 1 w 391"/>
                  <a:gd name="T83" fmla="*/ 1 h 548"/>
                  <a:gd name="T84" fmla="*/ 1 w 391"/>
                  <a:gd name="T85" fmla="*/ 1 h 548"/>
                  <a:gd name="T86" fmla="*/ 1 w 391"/>
                  <a:gd name="T87" fmla="*/ 1 h 548"/>
                  <a:gd name="T88" fmla="*/ 1 w 391"/>
                  <a:gd name="T89" fmla="*/ 1 h 548"/>
                  <a:gd name="T90" fmla="*/ 1 w 391"/>
                  <a:gd name="T91" fmla="*/ 1 h 548"/>
                  <a:gd name="T92" fmla="*/ 1 w 391"/>
                  <a:gd name="T93" fmla="*/ 1 h 548"/>
                  <a:gd name="T94" fmla="*/ 1 w 391"/>
                  <a:gd name="T95" fmla="*/ 1 h 548"/>
                  <a:gd name="T96" fmla="*/ 1 w 391"/>
                  <a:gd name="T97" fmla="*/ 1 h 548"/>
                  <a:gd name="T98" fmla="*/ 1 w 391"/>
                  <a:gd name="T99" fmla="*/ 1 h 54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91"/>
                  <a:gd name="T151" fmla="*/ 0 h 548"/>
                  <a:gd name="T152" fmla="*/ 391 w 391"/>
                  <a:gd name="T153" fmla="*/ 548 h 548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91" h="548">
                    <a:moveTo>
                      <a:pt x="376" y="351"/>
                    </a:moveTo>
                    <a:lnTo>
                      <a:pt x="362" y="346"/>
                    </a:lnTo>
                    <a:lnTo>
                      <a:pt x="356" y="350"/>
                    </a:lnTo>
                    <a:lnTo>
                      <a:pt x="350" y="358"/>
                    </a:lnTo>
                    <a:lnTo>
                      <a:pt x="339" y="360"/>
                    </a:lnTo>
                    <a:lnTo>
                      <a:pt x="331" y="357"/>
                    </a:lnTo>
                    <a:lnTo>
                      <a:pt x="323" y="351"/>
                    </a:lnTo>
                    <a:lnTo>
                      <a:pt x="315" y="344"/>
                    </a:lnTo>
                    <a:lnTo>
                      <a:pt x="307" y="334"/>
                    </a:lnTo>
                    <a:lnTo>
                      <a:pt x="299" y="322"/>
                    </a:lnTo>
                    <a:lnTo>
                      <a:pt x="294" y="308"/>
                    </a:lnTo>
                    <a:lnTo>
                      <a:pt x="286" y="290"/>
                    </a:lnTo>
                    <a:lnTo>
                      <a:pt x="280" y="270"/>
                    </a:lnTo>
                    <a:lnTo>
                      <a:pt x="268" y="237"/>
                    </a:lnTo>
                    <a:lnTo>
                      <a:pt x="254" y="219"/>
                    </a:lnTo>
                    <a:lnTo>
                      <a:pt x="239" y="209"/>
                    </a:lnTo>
                    <a:lnTo>
                      <a:pt x="227" y="200"/>
                    </a:lnTo>
                    <a:lnTo>
                      <a:pt x="221" y="193"/>
                    </a:lnTo>
                    <a:lnTo>
                      <a:pt x="213" y="183"/>
                    </a:lnTo>
                    <a:lnTo>
                      <a:pt x="204" y="170"/>
                    </a:lnTo>
                    <a:lnTo>
                      <a:pt x="196" y="158"/>
                    </a:lnTo>
                    <a:lnTo>
                      <a:pt x="186" y="144"/>
                    </a:lnTo>
                    <a:lnTo>
                      <a:pt x="176" y="129"/>
                    </a:lnTo>
                    <a:lnTo>
                      <a:pt x="168" y="113"/>
                    </a:lnTo>
                    <a:lnTo>
                      <a:pt x="162" y="99"/>
                    </a:lnTo>
                    <a:lnTo>
                      <a:pt x="157" y="78"/>
                    </a:lnTo>
                    <a:lnTo>
                      <a:pt x="153" y="54"/>
                    </a:lnTo>
                    <a:lnTo>
                      <a:pt x="153" y="28"/>
                    </a:lnTo>
                    <a:lnTo>
                      <a:pt x="153" y="3"/>
                    </a:lnTo>
                    <a:lnTo>
                      <a:pt x="141" y="2"/>
                    </a:lnTo>
                    <a:lnTo>
                      <a:pt x="131" y="0"/>
                    </a:lnTo>
                    <a:lnTo>
                      <a:pt x="121" y="0"/>
                    </a:lnTo>
                    <a:lnTo>
                      <a:pt x="110" y="0"/>
                    </a:lnTo>
                    <a:lnTo>
                      <a:pt x="100" y="2"/>
                    </a:lnTo>
                    <a:lnTo>
                      <a:pt x="90" y="2"/>
                    </a:lnTo>
                    <a:lnTo>
                      <a:pt x="80" y="3"/>
                    </a:lnTo>
                    <a:lnTo>
                      <a:pt x="70" y="3"/>
                    </a:lnTo>
                    <a:lnTo>
                      <a:pt x="57" y="3"/>
                    </a:lnTo>
                    <a:lnTo>
                      <a:pt x="43" y="3"/>
                    </a:lnTo>
                    <a:lnTo>
                      <a:pt x="31" y="3"/>
                    </a:lnTo>
                    <a:lnTo>
                      <a:pt x="22" y="3"/>
                    </a:lnTo>
                    <a:lnTo>
                      <a:pt x="12" y="3"/>
                    </a:lnTo>
                    <a:lnTo>
                      <a:pt x="6" y="3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2" y="15"/>
                    </a:lnTo>
                    <a:lnTo>
                      <a:pt x="10" y="42"/>
                    </a:lnTo>
                    <a:lnTo>
                      <a:pt x="16" y="73"/>
                    </a:lnTo>
                    <a:lnTo>
                      <a:pt x="22" y="99"/>
                    </a:lnTo>
                    <a:lnTo>
                      <a:pt x="27" y="115"/>
                    </a:lnTo>
                    <a:lnTo>
                      <a:pt x="37" y="130"/>
                    </a:lnTo>
                    <a:lnTo>
                      <a:pt x="43" y="146"/>
                    </a:lnTo>
                    <a:lnTo>
                      <a:pt x="43" y="160"/>
                    </a:lnTo>
                    <a:lnTo>
                      <a:pt x="39" y="183"/>
                    </a:lnTo>
                    <a:lnTo>
                      <a:pt x="37" y="217"/>
                    </a:lnTo>
                    <a:lnTo>
                      <a:pt x="41" y="256"/>
                    </a:lnTo>
                    <a:lnTo>
                      <a:pt x="49" y="289"/>
                    </a:lnTo>
                    <a:lnTo>
                      <a:pt x="55" y="303"/>
                    </a:lnTo>
                    <a:lnTo>
                      <a:pt x="63" y="318"/>
                    </a:lnTo>
                    <a:lnTo>
                      <a:pt x="72" y="332"/>
                    </a:lnTo>
                    <a:lnTo>
                      <a:pt x="80" y="346"/>
                    </a:lnTo>
                    <a:lnTo>
                      <a:pt x="90" y="360"/>
                    </a:lnTo>
                    <a:lnTo>
                      <a:pt x="98" y="372"/>
                    </a:lnTo>
                    <a:lnTo>
                      <a:pt x="106" y="381"/>
                    </a:lnTo>
                    <a:lnTo>
                      <a:pt x="113" y="388"/>
                    </a:lnTo>
                    <a:lnTo>
                      <a:pt x="125" y="397"/>
                    </a:lnTo>
                    <a:lnTo>
                      <a:pt x="141" y="407"/>
                    </a:lnTo>
                    <a:lnTo>
                      <a:pt x="155" y="426"/>
                    </a:lnTo>
                    <a:lnTo>
                      <a:pt x="166" y="459"/>
                    </a:lnTo>
                    <a:lnTo>
                      <a:pt x="172" y="479"/>
                    </a:lnTo>
                    <a:lnTo>
                      <a:pt x="180" y="496"/>
                    </a:lnTo>
                    <a:lnTo>
                      <a:pt x="186" y="510"/>
                    </a:lnTo>
                    <a:lnTo>
                      <a:pt x="194" y="522"/>
                    </a:lnTo>
                    <a:lnTo>
                      <a:pt x="202" y="532"/>
                    </a:lnTo>
                    <a:lnTo>
                      <a:pt x="209" y="539"/>
                    </a:lnTo>
                    <a:lnTo>
                      <a:pt x="217" y="545"/>
                    </a:lnTo>
                    <a:lnTo>
                      <a:pt x="225" y="548"/>
                    </a:lnTo>
                    <a:lnTo>
                      <a:pt x="237" y="545"/>
                    </a:lnTo>
                    <a:lnTo>
                      <a:pt x="241" y="538"/>
                    </a:lnTo>
                    <a:lnTo>
                      <a:pt x="249" y="532"/>
                    </a:lnTo>
                    <a:lnTo>
                      <a:pt x="262" y="538"/>
                    </a:lnTo>
                    <a:lnTo>
                      <a:pt x="278" y="538"/>
                    </a:lnTo>
                    <a:lnTo>
                      <a:pt x="286" y="515"/>
                    </a:lnTo>
                    <a:lnTo>
                      <a:pt x="294" y="484"/>
                    </a:lnTo>
                    <a:lnTo>
                      <a:pt x="305" y="454"/>
                    </a:lnTo>
                    <a:lnTo>
                      <a:pt x="319" y="435"/>
                    </a:lnTo>
                    <a:lnTo>
                      <a:pt x="329" y="423"/>
                    </a:lnTo>
                    <a:lnTo>
                      <a:pt x="340" y="419"/>
                    </a:lnTo>
                    <a:lnTo>
                      <a:pt x="358" y="421"/>
                    </a:lnTo>
                    <a:lnTo>
                      <a:pt x="374" y="419"/>
                    </a:lnTo>
                    <a:lnTo>
                      <a:pt x="384" y="405"/>
                    </a:lnTo>
                    <a:lnTo>
                      <a:pt x="387" y="386"/>
                    </a:lnTo>
                    <a:lnTo>
                      <a:pt x="389" y="360"/>
                    </a:lnTo>
                    <a:lnTo>
                      <a:pt x="389" y="358"/>
                    </a:lnTo>
                    <a:lnTo>
                      <a:pt x="389" y="355"/>
                    </a:lnTo>
                    <a:lnTo>
                      <a:pt x="389" y="353"/>
                    </a:lnTo>
                    <a:lnTo>
                      <a:pt x="391" y="351"/>
                    </a:lnTo>
                    <a:lnTo>
                      <a:pt x="387" y="353"/>
                    </a:lnTo>
                    <a:lnTo>
                      <a:pt x="386" y="353"/>
                    </a:lnTo>
                    <a:lnTo>
                      <a:pt x="382" y="353"/>
                    </a:lnTo>
                    <a:lnTo>
                      <a:pt x="376" y="351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CC9900"/>
                  </a:gs>
                  <a:gs pos="100000">
                    <a:srgbClr val="5E4700"/>
                  </a:gs>
                </a:gsLst>
                <a:lin ang="5400000" scaled="1"/>
              </a:gra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49" name="Freeform 8"/>
              <p:cNvSpPr>
                <a:spLocks/>
              </p:cNvSpPr>
              <p:nvPr/>
            </p:nvSpPr>
            <p:spPr bwMode="auto">
              <a:xfrm>
                <a:off x="3310" y="3032"/>
                <a:ext cx="151" cy="132"/>
              </a:xfrm>
              <a:custGeom>
                <a:avLst/>
                <a:gdLst>
                  <a:gd name="T0" fmla="*/ 1 w 219"/>
                  <a:gd name="T1" fmla="*/ 1 h 221"/>
                  <a:gd name="T2" fmla="*/ 1 w 219"/>
                  <a:gd name="T3" fmla="*/ 1 h 221"/>
                  <a:gd name="T4" fmla="*/ 1 w 219"/>
                  <a:gd name="T5" fmla="*/ 1 h 221"/>
                  <a:gd name="T6" fmla="*/ 1 w 219"/>
                  <a:gd name="T7" fmla="*/ 0 h 221"/>
                  <a:gd name="T8" fmla="*/ 1 w 219"/>
                  <a:gd name="T9" fmla="*/ 1 h 221"/>
                  <a:gd name="T10" fmla="*/ 1 w 219"/>
                  <a:gd name="T11" fmla="*/ 1 h 221"/>
                  <a:gd name="T12" fmla="*/ 1 w 219"/>
                  <a:gd name="T13" fmla="*/ 1 h 221"/>
                  <a:gd name="T14" fmla="*/ 1 w 219"/>
                  <a:gd name="T15" fmla="*/ 1 h 221"/>
                  <a:gd name="T16" fmla="*/ 1 w 219"/>
                  <a:gd name="T17" fmla="*/ 1 h 221"/>
                  <a:gd name="T18" fmla="*/ 1 w 219"/>
                  <a:gd name="T19" fmla="*/ 1 h 221"/>
                  <a:gd name="T20" fmla="*/ 1 w 219"/>
                  <a:gd name="T21" fmla="*/ 1 h 221"/>
                  <a:gd name="T22" fmla="*/ 0 w 219"/>
                  <a:gd name="T23" fmla="*/ 1 h 221"/>
                  <a:gd name="T24" fmla="*/ 1 w 219"/>
                  <a:gd name="T25" fmla="*/ 1 h 221"/>
                  <a:gd name="T26" fmla="*/ 1 w 219"/>
                  <a:gd name="T27" fmla="*/ 1 h 221"/>
                  <a:gd name="T28" fmla="*/ 1 w 219"/>
                  <a:gd name="T29" fmla="*/ 1 h 221"/>
                  <a:gd name="T30" fmla="*/ 1 w 219"/>
                  <a:gd name="T31" fmla="*/ 1 h 221"/>
                  <a:gd name="T32" fmla="*/ 1 w 219"/>
                  <a:gd name="T33" fmla="*/ 1 h 221"/>
                  <a:gd name="T34" fmla="*/ 1 w 219"/>
                  <a:gd name="T35" fmla="*/ 1 h 221"/>
                  <a:gd name="T36" fmla="*/ 1 w 219"/>
                  <a:gd name="T37" fmla="*/ 1 h 221"/>
                  <a:gd name="T38" fmla="*/ 1 w 219"/>
                  <a:gd name="T39" fmla="*/ 1 h 221"/>
                  <a:gd name="T40" fmla="*/ 1 w 219"/>
                  <a:gd name="T41" fmla="*/ 1 h 221"/>
                  <a:gd name="T42" fmla="*/ 1 w 219"/>
                  <a:gd name="T43" fmla="*/ 1 h 221"/>
                  <a:gd name="T44" fmla="*/ 1 w 219"/>
                  <a:gd name="T45" fmla="*/ 1 h 221"/>
                  <a:gd name="T46" fmla="*/ 1 w 219"/>
                  <a:gd name="T47" fmla="*/ 1 h 221"/>
                  <a:gd name="T48" fmla="*/ 1 w 219"/>
                  <a:gd name="T49" fmla="*/ 1 h 221"/>
                  <a:gd name="T50" fmla="*/ 1 w 219"/>
                  <a:gd name="T51" fmla="*/ 1 h 221"/>
                  <a:gd name="T52" fmla="*/ 1 w 219"/>
                  <a:gd name="T53" fmla="*/ 1 h 221"/>
                  <a:gd name="T54" fmla="*/ 1 w 219"/>
                  <a:gd name="T55" fmla="*/ 1 h 221"/>
                  <a:gd name="T56" fmla="*/ 1 w 219"/>
                  <a:gd name="T57" fmla="*/ 1 h 221"/>
                  <a:gd name="T58" fmla="*/ 1 w 219"/>
                  <a:gd name="T59" fmla="*/ 1 h 221"/>
                  <a:gd name="T60" fmla="*/ 1 w 219"/>
                  <a:gd name="T61" fmla="*/ 1 h 221"/>
                  <a:gd name="T62" fmla="*/ 1 w 219"/>
                  <a:gd name="T63" fmla="*/ 1 h 221"/>
                  <a:gd name="T64" fmla="*/ 1 w 219"/>
                  <a:gd name="T65" fmla="*/ 1 h 221"/>
                  <a:gd name="T66" fmla="*/ 1 w 219"/>
                  <a:gd name="T67" fmla="*/ 1 h 221"/>
                  <a:gd name="T68" fmla="*/ 1 w 219"/>
                  <a:gd name="T69" fmla="*/ 1 h 221"/>
                  <a:gd name="T70" fmla="*/ 1 w 219"/>
                  <a:gd name="T71" fmla="*/ 1 h 221"/>
                  <a:gd name="T72" fmla="*/ 1 w 219"/>
                  <a:gd name="T73" fmla="*/ 1 h 221"/>
                  <a:gd name="T74" fmla="*/ 1 w 219"/>
                  <a:gd name="T75" fmla="*/ 1 h 221"/>
                  <a:gd name="T76" fmla="*/ 1 w 219"/>
                  <a:gd name="T77" fmla="*/ 1 h 221"/>
                  <a:gd name="T78" fmla="*/ 1 w 219"/>
                  <a:gd name="T79" fmla="*/ 1 h 221"/>
                  <a:gd name="T80" fmla="*/ 1 w 219"/>
                  <a:gd name="T81" fmla="*/ 1 h 221"/>
                  <a:gd name="T82" fmla="*/ 1 w 219"/>
                  <a:gd name="T83" fmla="*/ 1 h 221"/>
                  <a:gd name="T84" fmla="*/ 1 w 219"/>
                  <a:gd name="T85" fmla="*/ 1 h 221"/>
                  <a:gd name="T86" fmla="*/ 1 w 219"/>
                  <a:gd name="T87" fmla="*/ 1 h 221"/>
                  <a:gd name="T88" fmla="*/ 1 w 219"/>
                  <a:gd name="T89" fmla="*/ 1 h 221"/>
                  <a:gd name="T90" fmla="*/ 1 w 219"/>
                  <a:gd name="T91" fmla="*/ 1 h 221"/>
                  <a:gd name="T92" fmla="*/ 1 w 219"/>
                  <a:gd name="T93" fmla="*/ 1 h 221"/>
                  <a:gd name="T94" fmla="*/ 1 w 219"/>
                  <a:gd name="T95" fmla="*/ 1 h 221"/>
                  <a:gd name="T96" fmla="*/ 1 w 219"/>
                  <a:gd name="T97" fmla="*/ 1 h 221"/>
                  <a:gd name="T98" fmla="*/ 1 w 219"/>
                  <a:gd name="T99" fmla="*/ 1 h 221"/>
                  <a:gd name="T100" fmla="*/ 1 w 219"/>
                  <a:gd name="T101" fmla="*/ 1 h 221"/>
                  <a:gd name="T102" fmla="*/ 1 w 219"/>
                  <a:gd name="T103" fmla="*/ 1 h 221"/>
                  <a:gd name="T104" fmla="*/ 1 w 219"/>
                  <a:gd name="T105" fmla="*/ 1 h 221"/>
                  <a:gd name="T106" fmla="*/ 1 w 219"/>
                  <a:gd name="T107" fmla="*/ 1 h 221"/>
                  <a:gd name="T108" fmla="*/ 1 w 219"/>
                  <a:gd name="T109" fmla="*/ 1 h 221"/>
                  <a:gd name="T110" fmla="*/ 1 w 219"/>
                  <a:gd name="T111" fmla="*/ 1 h 221"/>
                  <a:gd name="T112" fmla="*/ 1 w 219"/>
                  <a:gd name="T113" fmla="*/ 1 h 221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19"/>
                  <a:gd name="T172" fmla="*/ 0 h 221"/>
                  <a:gd name="T173" fmla="*/ 219 w 219"/>
                  <a:gd name="T174" fmla="*/ 221 h 221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19" h="221">
                    <a:moveTo>
                      <a:pt x="113" y="46"/>
                    </a:moveTo>
                    <a:lnTo>
                      <a:pt x="105" y="35"/>
                    </a:lnTo>
                    <a:lnTo>
                      <a:pt x="88" y="13"/>
                    </a:lnTo>
                    <a:lnTo>
                      <a:pt x="68" y="0"/>
                    </a:lnTo>
                    <a:lnTo>
                      <a:pt x="60" y="16"/>
                    </a:lnTo>
                    <a:lnTo>
                      <a:pt x="58" y="47"/>
                    </a:lnTo>
                    <a:lnTo>
                      <a:pt x="57" y="68"/>
                    </a:lnTo>
                    <a:lnTo>
                      <a:pt x="49" y="77"/>
                    </a:lnTo>
                    <a:lnTo>
                      <a:pt x="39" y="73"/>
                    </a:lnTo>
                    <a:lnTo>
                      <a:pt x="25" y="73"/>
                    </a:lnTo>
                    <a:lnTo>
                      <a:pt x="10" y="89"/>
                    </a:lnTo>
                    <a:lnTo>
                      <a:pt x="0" y="112"/>
                    </a:lnTo>
                    <a:lnTo>
                      <a:pt x="2" y="131"/>
                    </a:lnTo>
                    <a:lnTo>
                      <a:pt x="6" y="138"/>
                    </a:lnTo>
                    <a:lnTo>
                      <a:pt x="12" y="143"/>
                    </a:lnTo>
                    <a:lnTo>
                      <a:pt x="19" y="148"/>
                    </a:lnTo>
                    <a:lnTo>
                      <a:pt x="27" y="152"/>
                    </a:lnTo>
                    <a:lnTo>
                      <a:pt x="35" y="155"/>
                    </a:lnTo>
                    <a:lnTo>
                      <a:pt x="43" y="157"/>
                    </a:lnTo>
                    <a:lnTo>
                      <a:pt x="53" y="159"/>
                    </a:lnTo>
                    <a:lnTo>
                      <a:pt x="60" y="159"/>
                    </a:lnTo>
                    <a:lnTo>
                      <a:pt x="68" y="159"/>
                    </a:lnTo>
                    <a:lnTo>
                      <a:pt x="78" y="159"/>
                    </a:lnTo>
                    <a:lnTo>
                      <a:pt x="88" y="159"/>
                    </a:lnTo>
                    <a:lnTo>
                      <a:pt x="96" y="159"/>
                    </a:lnTo>
                    <a:lnTo>
                      <a:pt x="104" y="160"/>
                    </a:lnTo>
                    <a:lnTo>
                      <a:pt x="107" y="162"/>
                    </a:lnTo>
                    <a:lnTo>
                      <a:pt x="109" y="166"/>
                    </a:lnTo>
                    <a:lnTo>
                      <a:pt x="107" y="173"/>
                    </a:lnTo>
                    <a:lnTo>
                      <a:pt x="107" y="187"/>
                    </a:lnTo>
                    <a:lnTo>
                      <a:pt x="117" y="197"/>
                    </a:lnTo>
                    <a:lnTo>
                      <a:pt x="131" y="206"/>
                    </a:lnTo>
                    <a:lnTo>
                      <a:pt x="145" y="211"/>
                    </a:lnTo>
                    <a:lnTo>
                      <a:pt x="152" y="213"/>
                    </a:lnTo>
                    <a:lnTo>
                      <a:pt x="158" y="216"/>
                    </a:lnTo>
                    <a:lnTo>
                      <a:pt x="166" y="218"/>
                    </a:lnTo>
                    <a:lnTo>
                      <a:pt x="176" y="220"/>
                    </a:lnTo>
                    <a:lnTo>
                      <a:pt x="184" y="221"/>
                    </a:lnTo>
                    <a:lnTo>
                      <a:pt x="192" y="220"/>
                    </a:lnTo>
                    <a:lnTo>
                      <a:pt x="201" y="216"/>
                    </a:lnTo>
                    <a:lnTo>
                      <a:pt x="209" y="211"/>
                    </a:lnTo>
                    <a:lnTo>
                      <a:pt x="219" y="199"/>
                    </a:lnTo>
                    <a:lnTo>
                      <a:pt x="217" y="187"/>
                    </a:lnTo>
                    <a:lnTo>
                      <a:pt x="207" y="176"/>
                    </a:lnTo>
                    <a:lnTo>
                      <a:pt x="194" y="164"/>
                    </a:lnTo>
                    <a:lnTo>
                      <a:pt x="182" y="148"/>
                    </a:lnTo>
                    <a:lnTo>
                      <a:pt x="176" y="131"/>
                    </a:lnTo>
                    <a:lnTo>
                      <a:pt x="170" y="120"/>
                    </a:lnTo>
                    <a:lnTo>
                      <a:pt x="156" y="120"/>
                    </a:lnTo>
                    <a:lnTo>
                      <a:pt x="152" y="117"/>
                    </a:lnTo>
                    <a:lnTo>
                      <a:pt x="143" y="108"/>
                    </a:lnTo>
                    <a:lnTo>
                      <a:pt x="135" y="96"/>
                    </a:lnTo>
                    <a:lnTo>
                      <a:pt x="135" y="84"/>
                    </a:lnTo>
                    <a:lnTo>
                      <a:pt x="139" y="72"/>
                    </a:lnTo>
                    <a:lnTo>
                      <a:pt x="137" y="61"/>
                    </a:lnTo>
                    <a:lnTo>
                      <a:pt x="129" y="53"/>
                    </a:lnTo>
                    <a:lnTo>
                      <a:pt x="113" y="46"/>
                    </a:lnTo>
                    <a:close/>
                  </a:path>
                </a:pathLst>
              </a:custGeom>
              <a:solidFill>
                <a:srgbClr val="CC99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50" name="Freeform 9"/>
              <p:cNvSpPr>
                <a:spLocks/>
              </p:cNvSpPr>
              <p:nvPr/>
            </p:nvSpPr>
            <p:spPr bwMode="auto">
              <a:xfrm>
                <a:off x="3238" y="3051"/>
                <a:ext cx="105" cy="278"/>
              </a:xfrm>
              <a:custGeom>
                <a:avLst/>
                <a:gdLst>
                  <a:gd name="T0" fmla="*/ 1 w 153"/>
                  <a:gd name="T1" fmla="*/ 1 h 463"/>
                  <a:gd name="T2" fmla="*/ 1 w 153"/>
                  <a:gd name="T3" fmla="*/ 1 h 463"/>
                  <a:gd name="T4" fmla="*/ 1 w 153"/>
                  <a:gd name="T5" fmla="*/ 0 h 463"/>
                  <a:gd name="T6" fmla="*/ 1 w 153"/>
                  <a:gd name="T7" fmla="*/ 1 h 463"/>
                  <a:gd name="T8" fmla="*/ 0 w 153"/>
                  <a:gd name="T9" fmla="*/ 1 h 463"/>
                  <a:gd name="T10" fmla="*/ 1 w 153"/>
                  <a:gd name="T11" fmla="*/ 1 h 463"/>
                  <a:gd name="T12" fmla="*/ 1 w 153"/>
                  <a:gd name="T13" fmla="*/ 1 h 463"/>
                  <a:gd name="T14" fmla="*/ 1 w 153"/>
                  <a:gd name="T15" fmla="*/ 1 h 463"/>
                  <a:gd name="T16" fmla="*/ 1 w 153"/>
                  <a:gd name="T17" fmla="*/ 1 h 463"/>
                  <a:gd name="T18" fmla="*/ 1 w 153"/>
                  <a:gd name="T19" fmla="*/ 1 h 463"/>
                  <a:gd name="T20" fmla="*/ 1 w 153"/>
                  <a:gd name="T21" fmla="*/ 1 h 463"/>
                  <a:gd name="T22" fmla="*/ 1 w 153"/>
                  <a:gd name="T23" fmla="*/ 1 h 463"/>
                  <a:gd name="T24" fmla="*/ 1 w 153"/>
                  <a:gd name="T25" fmla="*/ 1 h 463"/>
                  <a:gd name="T26" fmla="*/ 1 w 153"/>
                  <a:gd name="T27" fmla="*/ 1 h 463"/>
                  <a:gd name="T28" fmla="*/ 1 w 153"/>
                  <a:gd name="T29" fmla="*/ 1 h 463"/>
                  <a:gd name="T30" fmla="*/ 1 w 153"/>
                  <a:gd name="T31" fmla="*/ 1 h 463"/>
                  <a:gd name="T32" fmla="*/ 1 w 153"/>
                  <a:gd name="T33" fmla="*/ 1 h 463"/>
                  <a:gd name="T34" fmla="*/ 1 w 153"/>
                  <a:gd name="T35" fmla="*/ 1 h 463"/>
                  <a:gd name="T36" fmla="*/ 1 w 153"/>
                  <a:gd name="T37" fmla="*/ 1 h 463"/>
                  <a:gd name="T38" fmla="*/ 1 w 153"/>
                  <a:gd name="T39" fmla="*/ 1 h 463"/>
                  <a:gd name="T40" fmla="*/ 1 w 153"/>
                  <a:gd name="T41" fmla="*/ 1 h 463"/>
                  <a:gd name="T42" fmla="*/ 1 w 153"/>
                  <a:gd name="T43" fmla="*/ 1 h 463"/>
                  <a:gd name="T44" fmla="*/ 1 w 153"/>
                  <a:gd name="T45" fmla="*/ 1 h 463"/>
                  <a:gd name="T46" fmla="*/ 1 w 153"/>
                  <a:gd name="T47" fmla="*/ 1 h 463"/>
                  <a:gd name="T48" fmla="*/ 1 w 153"/>
                  <a:gd name="T49" fmla="*/ 1 h 463"/>
                  <a:gd name="T50" fmla="*/ 1 w 153"/>
                  <a:gd name="T51" fmla="*/ 1 h 463"/>
                  <a:gd name="T52" fmla="*/ 1 w 153"/>
                  <a:gd name="T53" fmla="*/ 1 h 463"/>
                  <a:gd name="T54" fmla="*/ 1 w 153"/>
                  <a:gd name="T55" fmla="*/ 1 h 463"/>
                  <a:gd name="T56" fmla="*/ 1 w 153"/>
                  <a:gd name="T57" fmla="*/ 1 h 463"/>
                  <a:gd name="T58" fmla="*/ 1 w 153"/>
                  <a:gd name="T59" fmla="*/ 1 h 463"/>
                  <a:gd name="T60" fmla="*/ 1 w 153"/>
                  <a:gd name="T61" fmla="*/ 1 h 463"/>
                  <a:gd name="T62" fmla="*/ 1 w 153"/>
                  <a:gd name="T63" fmla="*/ 1 h 463"/>
                  <a:gd name="T64" fmla="*/ 1 w 153"/>
                  <a:gd name="T65" fmla="*/ 1 h 463"/>
                  <a:gd name="T66" fmla="*/ 1 w 153"/>
                  <a:gd name="T67" fmla="*/ 1 h 463"/>
                  <a:gd name="T68" fmla="*/ 1 w 153"/>
                  <a:gd name="T69" fmla="*/ 1 h 463"/>
                  <a:gd name="T70" fmla="*/ 1 w 153"/>
                  <a:gd name="T71" fmla="*/ 1 h 463"/>
                  <a:gd name="T72" fmla="*/ 1 w 153"/>
                  <a:gd name="T73" fmla="*/ 1 h 463"/>
                  <a:gd name="T74" fmla="*/ 1 w 153"/>
                  <a:gd name="T75" fmla="*/ 1 h 463"/>
                  <a:gd name="T76" fmla="*/ 1 w 153"/>
                  <a:gd name="T77" fmla="*/ 1 h 463"/>
                  <a:gd name="T78" fmla="*/ 1 w 153"/>
                  <a:gd name="T79" fmla="*/ 1 h 463"/>
                  <a:gd name="T80" fmla="*/ 1 w 153"/>
                  <a:gd name="T81" fmla="*/ 1 h 463"/>
                  <a:gd name="T82" fmla="*/ 1 w 153"/>
                  <a:gd name="T83" fmla="*/ 1 h 463"/>
                  <a:gd name="T84" fmla="*/ 1 w 153"/>
                  <a:gd name="T85" fmla="*/ 1 h 463"/>
                  <a:gd name="T86" fmla="*/ 1 w 153"/>
                  <a:gd name="T87" fmla="*/ 1 h 463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53"/>
                  <a:gd name="T133" fmla="*/ 0 h 463"/>
                  <a:gd name="T134" fmla="*/ 153 w 153"/>
                  <a:gd name="T135" fmla="*/ 463 h 463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53" h="463">
                    <a:moveTo>
                      <a:pt x="57" y="63"/>
                    </a:moveTo>
                    <a:lnTo>
                      <a:pt x="55" y="61"/>
                    </a:lnTo>
                    <a:lnTo>
                      <a:pt x="53" y="56"/>
                    </a:lnTo>
                    <a:lnTo>
                      <a:pt x="51" y="47"/>
                    </a:lnTo>
                    <a:lnTo>
                      <a:pt x="55" y="37"/>
                    </a:lnTo>
                    <a:lnTo>
                      <a:pt x="61" y="25"/>
                    </a:lnTo>
                    <a:lnTo>
                      <a:pt x="61" y="14"/>
                    </a:lnTo>
                    <a:lnTo>
                      <a:pt x="57" y="6"/>
                    </a:lnTo>
                    <a:lnTo>
                      <a:pt x="47" y="0"/>
                    </a:lnTo>
                    <a:lnTo>
                      <a:pt x="33" y="4"/>
                    </a:lnTo>
                    <a:lnTo>
                      <a:pt x="22" y="13"/>
                    </a:lnTo>
                    <a:lnTo>
                      <a:pt x="14" y="23"/>
                    </a:lnTo>
                    <a:lnTo>
                      <a:pt x="8" y="28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7"/>
                    </a:lnTo>
                    <a:lnTo>
                      <a:pt x="6" y="53"/>
                    </a:lnTo>
                    <a:lnTo>
                      <a:pt x="14" y="60"/>
                    </a:lnTo>
                    <a:lnTo>
                      <a:pt x="18" y="70"/>
                    </a:lnTo>
                    <a:lnTo>
                      <a:pt x="26" y="79"/>
                    </a:lnTo>
                    <a:lnTo>
                      <a:pt x="35" y="87"/>
                    </a:lnTo>
                    <a:lnTo>
                      <a:pt x="45" y="96"/>
                    </a:lnTo>
                    <a:lnTo>
                      <a:pt x="51" y="105"/>
                    </a:lnTo>
                    <a:lnTo>
                      <a:pt x="53" y="117"/>
                    </a:lnTo>
                    <a:lnTo>
                      <a:pt x="53" y="127"/>
                    </a:lnTo>
                    <a:lnTo>
                      <a:pt x="55" y="136"/>
                    </a:lnTo>
                    <a:lnTo>
                      <a:pt x="59" y="141"/>
                    </a:lnTo>
                    <a:lnTo>
                      <a:pt x="63" y="145"/>
                    </a:lnTo>
                    <a:lnTo>
                      <a:pt x="67" y="152"/>
                    </a:lnTo>
                    <a:lnTo>
                      <a:pt x="69" y="161"/>
                    </a:lnTo>
                    <a:lnTo>
                      <a:pt x="67" y="173"/>
                    </a:lnTo>
                    <a:lnTo>
                      <a:pt x="65" y="183"/>
                    </a:lnTo>
                    <a:lnTo>
                      <a:pt x="65" y="192"/>
                    </a:lnTo>
                    <a:lnTo>
                      <a:pt x="63" y="197"/>
                    </a:lnTo>
                    <a:lnTo>
                      <a:pt x="57" y="201"/>
                    </a:lnTo>
                    <a:lnTo>
                      <a:pt x="51" y="199"/>
                    </a:lnTo>
                    <a:lnTo>
                      <a:pt x="43" y="195"/>
                    </a:lnTo>
                    <a:lnTo>
                      <a:pt x="37" y="190"/>
                    </a:lnTo>
                    <a:lnTo>
                      <a:pt x="31" y="183"/>
                    </a:lnTo>
                    <a:lnTo>
                      <a:pt x="22" y="180"/>
                    </a:lnTo>
                    <a:lnTo>
                      <a:pt x="14" y="178"/>
                    </a:lnTo>
                    <a:lnTo>
                      <a:pt x="8" y="181"/>
                    </a:lnTo>
                    <a:lnTo>
                      <a:pt x="4" y="188"/>
                    </a:lnTo>
                    <a:lnTo>
                      <a:pt x="6" y="199"/>
                    </a:lnTo>
                    <a:lnTo>
                      <a:pt x="14" y="213"/>
                    </a:lnTo>
                    <a:lnTo>
                      <a:pt x="24" y="225"/>
                    </a:lnTo>
                    <a:lnTo>
                      <a:pt x="26" y="239"/>
                    </a:lnTo>
                    <a:lnTo>
                      <a:pt x="27" y="253"/>
                    </a:lnTo>
                    <a:lnTo>
                      <a:pt x="31" y="269"/>
                    </a:lnTo>
                    <a:lnTo>
                      <a:pt x="37" y="279"/>
                    </a:lnTo>
                    <a:lnTo>
                      <a:pt x="45" y="282"/>
                    </a:lnTo>
                    <a:lnTo>
                      <a:pt x="51" y="286"/>
                    </a:lnTo>
                    <a:lnTo>
                      <a:pt x="53" y="295"/>
                    </a:lnTo>
                    <a:lnTo>
                      <a:pt x="53" y="310"/>
                    </a:lnTo>
                    <a:lnTo>
                      <a:pt x="55" y="324"/>
                    </a:lnTo>
                    <a:lnTo>
                      <a:pt x="57" y="338"/>
                    </a:lnTo>
                    <a:lnTo>
                      <a:pt x="57" y="349"/>
                    </a:lnTo>
                    <a:lnTo>
                      <a:pt x="55" y="354"/>
                    </a:lnTo>
                    <a:lnTo>
                      <a:pt x="49" y="356"/>
                    </a:lnTo>
                    <a:lnTo>
                      <a:pt x="43" y="354"/>
                    </a:lnTo>
                    <a:lnTo>
                      <a:pt x="37" y="352"/>
                    </a:lnTo>
                    <a:lnTo>
                      <a:pt x="33" y="354"/>
                    </a:lnTo>
                    <a:lnTo>
                      <a:pt x="29" y="363"/>
                    </a:lnTo>
                    <a:lnTo>
                      <a:pt x="27" y="375"/>
                    </a:lnTo>
                    <a:lnTo>
                      <a:pt x="27" y="389"/>
                    </a:lnTo>
                    <a:lnTo>
                      <a:pt x="33" y="401"/>
                    </a:lnTo>
                    <a:lnTo>
                      <a:pt x="41" y="408"/>
                    </a:lnTo>
                    <a:lnTo>
                      <a:pt x="49" y="413"/>
                    </a:lnTo>
                    <a:lnTo>
                      <a:pt x="51" y="423"/>
                    </a:lnTo>
                    <a:lnTo>
                      <a:pt x="51" y="437"/>
                    </a:lnTo>
                    <a:lnTo>
                      <a:pt x="51" y="451"/>
                    </a:lnTo>
                    <a:lnTo>
                      <a:pt x="51" y="460"/>
                    </a:lnTo>
                    <a:lnTo>
                      <a:pt x="51" y="463"/>
                    </a:lnTo>
                    <a:lnTo>
                      <a:pt x="55" y="463"/>
                    </a:lnTo>
                    <a:lnTo>
                      <a:pt x="63" y="463"/>
                    </a:lnTo>
                    <a:lnTo>
                      <a:pt x="72" y="463"/>
                    </a:lnTo>
                    <a:lnTo>
                      <a:pt x="80" y="463"/>
                    </a:lnTo>
                    <a:lnTo>
                      <a:pt x="82" y="462"/>
                    </a:lnTo>
                    <a:lnTo>
                      <a:pt x="82" y="458"/>
                    </a:lnTo>
                    <a:lnTo>
                      <a:pt x="78" y="453"/>
                    </a:lnTo>
                    <a:lnTo>
                      <a:pt x="72" y="443"/>
                    </a:lnTo>
                    <a:lnTo>
                      <a:pt x="69" y="427"/>
                    </a:lnTo>
                    <a:lnTo>
                      <a:pt x="65" y="408"/>
                    </a:lnTo>
                    <a:lnTo>
                      <a:pt x="63" y="392"/>
                    </a:lnTo>
                    <a:lnTo>
                      <a:pt x="65" y="383"/>
                    </a:lnTo>
                    <a:lnTo>
                      <a:pt x="69" y="382"/>
                    </a:lnTo>
                    <a:lnTo>
                      <a:pt x="76" y="382"/>
                    </a:lnTo>
                    <a:lnTo>
                      <a:pt x="84" y="387"/>
                    </a:lnTo>
                    <a:lnTo>
                      <a:pt x="90" y="396"/>
                    </a:lnTo>
                    <a:lnTo>
                      <a:pt x="94" y="406"/>
                    </a:lnTo>
                    <a:lnTo>
                      <a:pt x="98" y="413"/>
                    </a:lnTo>
                    <a:lnTo>
                      <a:pt x="106" y="418"/>
                    </a:lnTo>
                    <a:lnTo>
                      <a:pt x="121" y="422"/>
                    </a:lnTo>
                    <a:lnTo>
                      <a:pt x="137" y="423"/>
                    </a:lnTo>
                    <a:lnTo>
                      <a:pt x="149" y="423"/>
                    </a:lnTo>
                    <a:lnTo>
                      <a:pt x="153" y="420"/>
                    </a:lnTo>
                    <a:lnTo>
                      <a:pt x="145" y="410"/>
                    </a:lnTo>
                    <a:lnTo>
                      <a:pt x="131" y="392"/>
                    </a:lnTo>
                    <a:lnTo>
                      <a:pt x="121" y="371"/>
                    </a:lnTo>
                    <a:lnTo>
                      <a:pt x="112" y="352"/>
                    </a:lnTo>
                    <a:lnTo>
                      <a:pt x="108" y="335"/>
                    </a:lnTo>
                    <a:lnTo>
                      <a:pt x="108" y="322"/>
                    </a:lnTo>
                    <a:lnTo>
                      <a:pt x="108" y="314"/>
                    </a:lnTo>
                    <a:lnTo>
                      <a:pt x="108" y="303"/>
                    </a:lnTo>
                    <a:lnTo>
                      <a:pt x="108" y="293"/>
                    </a:lnTo>
                    <a:lnTo>
                      <a:pt x="108" y="279"/>
                    </a:lnTo>
                    <a:lnTo>
                      <a:pt x="110" y="267"/>
                    </a:lnTo>
                    <a:lnTo>
                      <a:pt x="110" y="253"/>
                    </a:lnTo>
                    <a:lnTo>
                      <a:pt x="106" y="239"/>
                    </a:lnTo>
                    <a:lnTo>
                      <a:pt x="100" y="225"/>
                    </a:lnTo>
                    <a:lnTo>
                      <a:pt x="98" y="213"/>
                    </a:lnTo>
                    <a:lnTo>
                      <a:pt x="98" y="208"/>
                    </a:lnTo>
                    <a:lnTo>
                      <a:pt x="104" y="204"/>
                    </a:lnTo>
                    <a:lnTo>
                      <a:pt x="108" y="199"/>
                    </a:lnTo>
                    <a:lnTo>
                      <a:pt x="108" y="188"/>
                    </a:lnTo>
                    <a:lnTo>
                      <a:pt x="106" y="178"/>
                    </a:lnTo>
                    <a:lnTo>
                      <a:pt x="108" y="169"/>
                    </a:lnTo>
                    <a:lnTo>
                      <a:pt x="112" y="166"/>
                    </a:lnTo>
                    <a:lnTo>
                      <a:pt x="116" y="164"/>
                    </a:lnTo>
                    <a:lnTo>
                      <a:pt x="119" y="161"/>
                    </a:lnTo>
                    <a:lnTo>
                      <a:pt x="119" y="154"/>
                    </a:lnTo>
                    <a:lnTo>
                      <a:pt x="114" y="147"/>
                    </a:lnTo>
                    <a:lnTo>
                      <a:pt x="102" y="143"/>
                    </a:lnTo>
                    <a:lnTo>
                      <a:pt x="90" y="138"/>
                    </a:lnTo>
                    <a:lnTo>
                      <a:pt x="82" y="131"/>
                    </a:lnTo>
                    <a:lnTo>
                      <a:pt x="76" y="119"/>
                    </a:lnTo>
                    <a:lnTo>
                      <a:pt x="71" y="105"/>
                    </a:lnTo>
                    <a:lnTo>
                      <a:pt x="67" y="91"/>
                    </a:lnTo>
                    <a:lnTo>
                      <a:pt x="65" y="80"/>
                    </a:lnTo>
                    <a:lnTo>
                      <a:pt x="63" y="74"/>
                    </a:lnTo>
                    <a:lnTo>
                      <a:pt x="61" y="68"/>
                    </a:lnTo>
                    <a:lnTo>
                      <a:pt x="59" y="65"/>
                    </a:lnTo>
                    <a:lnTo>
                      <a:pt x="57" y="63"/>
                    </a:lnTo>
                    <a:close/>
                  </a:path>
                </a:pathLst>
              </a:custGeom>
              <a:solidFill>
                <a:srgbClr val="CC99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51" name="Freeform 10"/>
              <p:cNvSpPr>
                <a:spLocks/>
              </p:cNvSpPr>
              <p:nvPr/>
            </p:nvSpPr>
            <p:spPr bwMode="auto">
              <a:xfrm>
                <a:off x="3398" y="3195"/>
                <a:ext cx="80" cy="79"/>
              </a:xfrm>
              <a:custGeom>
                <a:avLst/>
                <a:gdLst>
                  <a:gd name="T0" fmla="*/ 1 w 117"/>
                  <a:gd name="T1" fmla="*/ 1 h 132"/>
                  <a:gd name="T2" fmla="*/ 1 w 117"/>
                  <a:gd name="T3" fmla="*/ 1 h 132"/>
                  <a:gd name="T4" fmla="*/ 1 w 117"/>
                  <a:gd name="T5" fmla="*/ 1 h 132"/>
                  <a:gd name="T6" fmla="*/ 1 w 117"/>
                  <a:gd name="T7" fmla="*/ 1 h 132"/>
                  <a:gd name="T8" fmla="*/ 1 w 117"/>
                  <a:gd name="T9" fmla="*/ 1 h 132"/>
                  <a:gd name="T10" fmla="*/ 1 w 117"/>
                  <a:gd name="T11" fmla="*/ 1 h 132"/>
                  <a:gd name="T12" fmla="*/ 1 w 117"/>
                  <a:gd name="T13" fmla="*/ 1 h 132"/>
                  <a:gd name="T14" fmla="*/ 1 w 117"/>
                  <a:gd name="T15" fmla="*/ 0 h 132"/>
                  <a:gd name="T16" fmla="*/ 1 w 117"/>
                  <a:gd name="T17" fmla="*/ 1 h 132"/>
                  <a:gd name="T18" fmla="*/ 1 w 117"/>
                  <a:gd name="T19" fmla="*/ 1 h 132"/>
                  <a:gd name="T20" fmla="*/ 1 w 117"/>
                  <a:gd name="T21" fmla="*/ 1 h 132"/>
                  <a:gd name="T22" fmla="*/ 1 w 117"/>
                  <a:gd name="T23" fmla="*/ 1 h 132"/>
                  <a:gd name="T24" fmla="*/ 1 w 117"/>
                  <a:gd name="T25" fmla="*/ 1 h 132"/>
                  <a:gd name="T26" fmla="*/ 1 w 117"/>
                  <a:gd name="T27" fmla="*/ 1 h 132"/>
                  <a:gd name="T28" fmla="*/ 1 w 117"/>
                  <a:gd name="T29" fmla="*/ 1 h 132"/>
                  <a:gd name="T30" fmla="*/ 1 w 117"/>
                  <a:gd name="T31" fmla="*/ 1 h 132"/>
                  <a:gd name="T32" fmla="*/ 1 w 117"/>
                  <a:gd name="T33" fmla="*/ 1 h 132"/>
                  <a:gd name="T34" fmla="*/ 1 w 117"/>
                  <a:gd name="T35" fmla="*/ 1 h 132"/>
                  <a:gd name="T36" fmla="*/ 1 w 117"/>
                  <a:gd name="T37" fmla="*/ 1 h 132"/>
                  <a:gd name="T38" fmla="*/ 1 w 117"/>
                  <a:gd name="T39" fmla="*/ 1 h 132"/>
                  <a:gd name="T40" fmla="*/ 1 w 117"/>
                  <a:gd name="T41" fmla="*/ 1 h 132"/>
                  <a:gd name="T42" fmla="*/ 1 w 117"/>
                  <a:gd name="T43" fmla="*/ 1 h 132"/>
                  <a:gd name="T44" fmla="*/ 1 w 117"/>
                  <a:gd name="T45" fmla="*/ 1 h 132"/>
                  <a:gd name="T46" fmla="*/ 1 w 117"/>
                  <a:gd name="T47" fmla="*/ 1 h 132"/>
                  <a:gd name="T48" fmla="*/ 0 w 117"/>
                  <a:gd name="T49" fmla="*/ 1 h 132"/>
                  <a:gd name="T50" fmla="*/ 1 w 117"/>
                  <a:gd name="T51" fmla="*/ 1 h 132"/>
                  <a:gd name="T52" fmla="*/ 1 w 117"/>
                  <a:gd name="T53" fmla="*/ 1 h 132"/>
                  <a:gd name="T54" fmla="*/ 1 w 117"/>
                  <a:gd name="T55" fmla="*/ 1 h 132"/>
                  <a:gd name="T56" fmla="*/ 1 w 117"/>
                  <a:gd name="T57" fmla="*/ 1 h 132"/>
                  <a:gd name="T58" fmla="*/ 1 w 117"/>
                  <a:gd name="T59" fmla="*/ 1 h 132"/>
                  <a:gd name="T60" fmla="*/ 1 w 117"/>
                  <a:gd name="T61" fmla="*/ 1 h 132"/>
                  <a:gd name="T62" fmla="*/ 1 w 117"/>
                  <a:gd name="T63" fmla="*/ 1 h 132"/>
                  <a:gd name="T64" fmla="*/ 1 w 117"/>
                  <a:gd name="T65" fmla="*/ 1 h 132"/>
                  <a:gd name="T66" fmla="*/ 1 w 117"/>
                  <a:gd name="T67" fmla="*/ 1 h 132"/>
                  <a:gd name="T68" fmla="*/ 1 w 117"/>
                  <a:gd name="T69" fmla="*/ 1 h 132"/>
                  <a:gd name="T70" fmla="*/ 1 w 117"/>
                  <a:gd name="T71" fmla="*/ 1 h 132"/>
                  <a:gd name="T72" fmla="*/ 1 w 117"/>
                  <a:gd name="T73" fmla="*/ 1 h 132"/>
                  <a:gd name="T74" fmla="*/ 1 w 117"/>
                  <a:gd name="T75" fmla="*/ 1 h 132"/>
                  <a:gd name="T76" fmla="*/ 1 w 117"/>
                  <a:gd name="T77" fmla="*/ 1 h 132"/>
                  <a:gd name="T78" fmla="*/ 1 w 117"/>
                  <a:gd name="T79" fmla="*/ 1 h 132"/>
                  <a:gd name="T80" fmla="*/ 1 w 117"/>
                  <a:gd name="T81" fmla="*/ 1 h 132"/>
                  <a:gd name="T82" fmla="*/ 1 w 117"/>
                  <a:gd name="T83" fmla="*/ 1 h 132"/>
                  <a:gd name="T84" fmla="*/ 1 w 117"/>
                  <a:gd name="T85" fmla="*/ 1 h 132"/>
                  <a:gd name="T86" fmla="*/ 1 w 117"/>
                  <a:gd name="T87" fmla="*/ 1 h 132"/>
                  <a:gd name="T88" fmla="*/ 1 w 117"/>
                  <a:gd name="T89" fmla="*/ 1 h 132"/>
                  <a:gd name="T90" fmla="*/ 1 w 117"/>
                  <a:gd name="T91" fmla="*/ 1 h 132"/>
                  <a:gd name="T92" fmla="*/ 1 w 117"/>
                  <a:gd name="T93" fmla="*/ 1 h 132"/>
                  <a:gd name="T94" fmla="*/ 1 w 117"/>
                  <a:gd name="T95" fmla="*/ 1 h 132"/>
                  <a:gd name="T96" fmla="*/ 1 w 117"/>
                  <a:gd name="T97" fmla="*/ 1 h 132"/>
                  <a:gd name="T98" fmla="*/ 1 w 117"/>
                  <a:gd name="T99" fmla="*/ 1 h 132"/>
                  <a:gd name="T100" fmla="*/ 1 w 117"/>
                  <a:gd name="T101" fmla="*/ 1 h 132"/>
                  <a:gd name="T102" fmla="*/ 1 w 117"/>
                  <a:gd name="T103" fmla="*/ 1 h 132"/>
                  <a:gd name="T104" fmla="*/ 1 w 117"/>
                  <a:gd name="T105" fmla="*/ 1 h 132"/>
                  <a:gd name="T106" fmla="*/ 1 w 117"/>
                  <a:gd name="T107" fmla="*/ 1 h 132"/>
                  <a:gd name="T108" fmla="*/ 1 w 117"/>
                  <a:gd name="T109" fmla="*/ 1 h 132"/>
                  <a:gd name="T110" fmla="*/ 1 w 117"/>
                  <a:gd name="T111" fmla="*/ 1 h 132"/>
                  <a:gd name="T112" fmla="*/ 1 w 117"/>
                  <a:gd name="T113" fmla="*/ 1 h 13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17"/>
                  <a:gd name="T172" fmla="*/ 0 h 132"/>
                  <a:gd name="T173" fmla="*/ 117 w 117"/>
                  <a:gd name="T174" fmla="*/ 132 h 13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17" h="132">
                    <a:moveTo>
                      <a:pt x="59" y="36"/>
                    </a:moveTo>
                    <a:lnTo>
                      <a:pt x="57" y="34"/>
                    </a:lnTo>
                    <a:lnTo>
                      <a:pt x="57" y="29"/>
                    </a:lnTo>
                    <a:lnTo>
                      <a:pt x="55" y="22"/>
                    </a:lnTo>
                    <a:lnTo>
                      <a:pt x="59" y="15"/>
                    </a:lnTo>
                    <a:lnTo>
                      <a:pt x="63" y="8"/>
                    </a:lnTo>
                    <a:lnTo>
                      <a:pt x="63" y="1"/>
                    </a:lnTo>
                    <a:lnTo>
                      <a:pt x="59" y="0"/>
                    </a:lnTo>
                    <a:lnTo>
                      <a:pt x="55" y="1"/>
                    </a:lnTo>
                    <a:lnTo>
                      <a:pt x="51" y="5"/>
                    </a:lnTo>
                    <a:lnTo>
                      <a:pt x="45" y="8"/>
                    </a:lnTo>
                    <a:lnTo>
                      <a:pt x="35" y="12"/>
                    </a:lnTo>
                    <a:lnTo>
                      <a:pt x="25" y="12"/>
                    </a:lnTo>
                    <a:lnTo>
                      <a:pt x="16" y="12"/>
                    </a:lnTo>
                    <a:lnTo>
                      <a:pt x="12" y="15"/>
                    </a:lnTo>
                    <a:lnTo>
                      <a:pt x="12" y="21"/>
                    </a:lnTo>
                    <a:lnTo>
                      <a:pt x="18" y="26"/>
                    </a:lnTo>
                    <a:lnTo>
                      <a:pt x="25" y="31"/>
                    </a:lnTo>
                    <a:lnTo>
                      <a:pt x="31" y="40"/>
                    </a:lnTo>
                    <a:lnTo>
                      <a:pt x="31" y="47"/>
                    </a:lnTo>
                    <a:lnTo>
                      <a:pt x="27" y="50"/>
                    </a:lnTo>
                    <a:lnTo>
                      <a:pt x="22" y="48"/>
                    </a:lnTo>
                    <a:lnTo>
                      <a:pt x="12" y="47"/>
                    </a:lnTo>
                    <a:lnTo>
                      <a:pt x="4" y="48"/>
                    </a:lnTo>
                    <a:lnTo>
                      <a:pt x="0" y="55"/>
                    </a:lnTo>
                    <a:lnTo>
                      <a:pt x="2" y="66"/>
                    </a:lnTo>
                    <a:lnTo>
                      <a:pt x="8" y="73"/>
                    </a:lnTo>
                    <a:lnTo>
                      <a:pt x="16" y="78"/>
                    </a:lnTo>
                    <a:lnTo>
                      <a:pt x="25" y="80"/>
                    </a:lnTo>
                    <a:lnTo>
                      <a:pt x="39" y="78"/>
                    </a:lnTo>
                    <a:lnTo>
                      <a:pt x="55" y="75"/>
                    </a:lnTo>
                    <a:lnTo>
                      <a:pt x="67" y="75"/>
                    </a:lnTo>
                    <a:lnTo>
                      <a:pt x="72" y="80"/>
                    </a:lnTo>
                    <a:lnTo>
                      <a:pt x="72" y="88"/>
                    </a:lnTo>
                    <a:lnTo>
                      <a:pt x="74" y="95"/>
                    </a:lnTo>
                    <a:lnTo>
                      <a:pt x="78" y="102"/>
                    </a:lnTo>
                    <a:lnTo>
                      <a:pt x="86" y="108"/>
                    </a:lnTo>
                    <a:lnTo>
                      <a:pt x="92" y="113"/>
                    </a:lnTo>
                    <a:lnTo>
                      <a:pt x="96" y="122"/>
                    </a:lnTo>
                    <a:lnTo>
                      <a:pt x="96" y="128"/>
                    </a:lnTo>
                    <a:lnTo>
                      <a:pt x="96" y="132"/>
                    </a:lnTo>
                    <a:lnTo>
                      <a:pt x="98" y="130"/>
                    </a:lnTo>
                    <a:lnTo>
                      <a:pt x="104" y="127"/>
                    </a:lnTo>
                    <a:lnTo>
                      <a:pt x="112" y="123"/>
                    </a:lnTo>
                    <a:lnTo>
                      <a:pt x="115" y="118"/>
                    </a:lnTo>
                    <a:lnTo>
                      <a:pt x="117" y="115"/>
                    </a:lnTo>
                    <a:lnTo>
                      <a:pt x="117" y="108"/>
                    </a:lnTo>
                    <a:lnTo>
                      <a:pt x="114" y="102"/>
                    </a:lnTo>
                    <a:lnTo>
                      <a:pt x="110" y="94"/>
                    </a:lnTo>
                    <a:lnTo>
                      <a:pt x="104" y="83"/>
                    </a:lnTo>
                    <a:lnTo>
                      <a:pt x="96" y="75"/>
                    </a:lnTo>
                    <a:lnTo>
                      <a:pt x="90" y="66"/>
                    </a:lnTo>
                    <a:lnTo>
                      <a:pt x="80" y="62"/>
                    </a:lnTo>
                    <a:lnTo>
                      <a:pt x="70" y="59"/>
                    </a:lnTo>
                    <a:lnTo>
                      <a:pt x="65" y="54"/>
                    </a:lnTo>
                    <a:lnTo>
                      <a:pt x="59" y="47"/>
                    </a:lnTo>
                    <a:lnTo>
                      <a:pt x="59" y="36"/>
                    </a:lnTo>
                    <a:close/>
                  </a:path>
                </a:pathLst>
              </a:custGeom>
              <a:solidFill>
                <a:srgbClr val="CC99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52" name="Freeform 11"/>
              <p:cNvSpPr>
                <a:spLocks/>
              </p:cNvSpPr>
              <p:nvPr/>
            </p:nvSpPr>
            <p:spPr bwMode="auto">
              <a:xfrm>
                <a:off x="3445" y="3296"/>
                <a:ext cx="180" cy="158"/>
              </a:xfrm>
              <a:custGeom>
                <a:avLst/>
                <a:gdLst>
                  <a:gd name="T0" fmla="*/ 1 w 260"/>
                  <a:gd name="T1" fmla="*/ 1 h 264"/>
                  <a:gd name="T2" fmla="*/ 1 w 260"/>
                  <a:gd name="T3" fmla="*/ 1 h 264"/>
                  <a:gd name="T4" fmla="*/ 1 w 260"/>
                  <a:gd name="T5" fmla="*/ 1 h 264"/>
                  <a:gd name="T6" fmla="*/ 1 w 260"/>
                  <a:gd name="T7" fmla="*/ 1 h 264"/>
                  <a:gd name="T8" fmla="*/ 1 w 260"/>
                  <a:gd name="T9" fmla="*/ 1 h 264"/>
                  <a:gd name="T10" fmla="*/ 1 w 260"/>
                  <a:gd name="T11" fmla="*/ 1 h 264"/>
                  <a:gd name="T12" fmla="*/ 1 w 260"/>
                  <a:gd name="T13" fmla="*/ 1 h 264"/>
                  <a:gd name="T14" fmla="*/ 1 w 260"/>
                  <a:gd name="T15" fmla="*/ 1 h 264"/>
                  <a:gd name="T16" fmla="*/ 1 w 260"/>
                  <a:gd name="T17" fmla="*/ 1 h 264"/>
                  <a:gd name="T18" fmla="*/ 1 w 260"/>
                  <a:gd name="T19" fmla="*/ 1 h 264"/>
                  <a:gd name="T20" fmla="*/ 1 w 260"/>
                  <a:gd name="T21" fmla="*/ 1 h 264"/>
                  <a:gd name="T22" fmla="*/ 1 w 260"/>
                  <a:gd name="T23" fmla="*/ 1 h 264"/>
                  <a:gd name="T24" fmla="*/ 1 w 260"/>
                  <a:gd name="T25" fmla="*/ 1 h 264"/>
                  <a:gd name="T26" fmla="*/ 1 w 260"/>
                  <a:gd name="T27" fmla="*/ 1 h 264"/>
                  <a:gd name="T28" fmla="*/ 1 w 260"/>
                  <a:gd name="T29" fmla="*/ 1 h 264"/>
                  <a:gd name="T30" fmla="*/ 1 w 260"/>
                  <a:gd name="T31" fmla="*/ 1 h 264"/>
                  <a:gd name="T32" fmla="*/ 1 w 260"/>
                  <a:gd name="T33" fmla="*/ 1 h 264"/>
                  <a:gd name="T34" fmla="*/ 1 w 260"/>
                  <a:gd name="T35" fmla="*/ 1 h 264"/>
                  <a:gd name="T36" fmla="*/ 1 w 260"/>
                  <a:gd name="T37" fmla="*/ 1 h 264"/>
                  <a:gd name="T38" fmla="*/ 1 w 260"/>
                  <a:gd name="T39" fmla="*/ 1 h 264"/>
                  <a:gd name="T40" fmla="*/ 1 w 260"/>
                  <a:gd name="T41" fmla="*/ 1 h 264"/>
                  <a:gd name="T42" fmla="*/ 1 w 260"/>
                  <a:gd name="T43" fmla="*/ 1 h 264"/>
                  <a:gd name="T44" fmla="*/ 1 w 260"/>
                  <a:gd name="T45" fmla="*/ 1 h 264"/>
                  <a:gd name="T46" fmla="*/ 1 w 260"/>
                  <a:gd name="T47" fmla="*/ 1 h 264"/>
                  <a:gd name="T48" fmla="*/ 1 w 260"/>
                  <a:gd name="T49" fmla="*/ 1 h 264"/>
                  <a:gd name="T50" fmla="*/ 1 w 260"/>
                  <a:gd name="T51" fmla="*/ 1 h 264"/>
                  <a:gd name="T52" fmla="*/ 1 w 260"/>
                  <a:gd name="T53" fmla="*/ 1 h 264"/>
                  <a:gd name="T54" fmla="*/ 1 w 260"/>
                  <a:gd name="T55" fmla="*/ 1 h 264"/>
                  <a:gd name="T56" fmla="*/ 1 w 260"/>
                  <a:gd name="T57" fmla="*/ 1 h 264"/>
                  <a:gd name="T58" fmla="*/ 1 w 260"/>
                  <a:gd name="T59" fmla="*/ 1 h 264"/>
                  <a:gd name="T60" fmla="*/ 1 w 260"/>
                  <a:gd name="T61" fmla="*/ 1 h 264"/>
                  <a:gd name="T62" fmla="*/ 1 w 260"/>
                  <a:gd name="T63" fmla="*/ 1 h 264"/>
                  <a:gd name="T64" fmla="*/ 1 w 260"/>
                  <a:gd name="T65" fmla="*/ 1 h 264"/>
                  <a:gd name="T66" fmla="*/ 1 w 260"/>
                  <a:gd name="T67" fmla="*/ 1 h 264"/>
                  <a:gd name="T68" fmla="*/ 1 w 260"/>
                  <a:gd name="T69" fmla="*/ 1 h 264"/>
                  <a:gd name="T70" fmla="*/ 1 w 260"/>
                  <a:gd name="T71" fmla="*/ 1 h 264"/>
                  <a:gd name="T72" fmla="*/ 1 w 260"/>
                  <a:gd name="T73" fmla="*/ 1 h 264"/>
                  <a:gd name="T74" fmla="*/ 1 w 260"/>
                  <a:gd name="T75" fmla="*/ 1 h 264"/>
                  <a:gd name="T76" fmla="*/ 1 w 260"/>
                  <a:gd name="T77" fmla="*/ 1 h 264"/>
                  <a:gd name="T78" fmla="*/ 1 w 260"/>
                  <a:gd name="T79" fmla="*/ 1 h 264"/>
                  <a:gd name="T80" fmla="*/ 1 w 260"/>
                  <a:gd name="T81" fmla="*/ 1 h 264"/>
                  <a:gd name="T82" fmla="*/ 1 w 260"/>
                  <a:gd name="T83" fmla="*/ 1 h 264"/>
                  <a:gd name="T84" fmla="*/ 1 w 260"/>
                  <a:gd name="T85" fmla="*/ 1 h 264"/>
                  <a:gd name="T86" fmla="*/ 1 w 260"/>
                  <a:gd name="T87" fmla="*/ 1 h 264"/>
                  <a:gd name="T88" fmla="*/ 1 w 260"/>
                  <a:gd name="T89" fmla="*/ 1 h 264"/>
                  <a:gd name="T90" fmla="*/ 1 w 260"/>
                  <a:gd name="T91" fmla="*/ 1 h 264"/>
                  <a:gd name="T92" fmla="*/ 1 w 260"/>
                  <a:gd name="T93" fmla="*/ 1 h 264"/>
                  <a:gd name="T94" fmla="*/ 1 w 260"/>
                  <a:gd name="T95" fmla="*/ 1 h 264"/>
                  <a:gd name="T96" fmla="*/ 1 w 260"/>
                  <a:gd name="T97" fmla="*/ 1 h 264"/>
                  <a:gd name="T98" fmla="*/ 1 w 260"/>
                  <a:gd name="T99" fmla="*/ 1 h 264"/>
                  <a:gd name="T100" fmla="*/ 1 w 260"/>
                  <a:gd name="T101" fmla="*/ 1 h 264"/>
                  <a:gd name="T102" fmla="*/ 1 w 260"/>
                  <a:gd name="T103" fmla="*/ 0 h 26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60"/>
                  <a:gd name="T157" fmla="*/ 0 h 264"/>
                  <a:gd name="T158" fmla="*/ 260 w 260"/>
                  <a:gd name="T159" fmla="*/ 264 h 264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60" h="264">
                    <a:moveTo>
                      <a:pt x="13" y="0"/>
                    </a:moveTo>
                    <a:lnTo>
                      <a:pt x="19" y="5"/>
                    </a:lnTo>
                    <a:lnTo>
                      <a:pt x="29" y="17"/>
                    </a:lnTo>
                    <a:lnTo>
                      <a:pt x="43" y="27"/>
                    </a:lnTo>
                    <a:lnTo>
                      <a:pt x="50" y="33"/>
                    </a:lnTo>
                    <a:lnTo>
                      <a:pt x="56" y="29"/>
                    </a:lnTo>
                    <a:lnTo>
                      <a:pt x="60" y="24"/>
                    </a:lnTo>
                    <a:lnTo>
                      <a:pt x="68" y="20"/>
                    </a:lnTo>
                    <a:lnTo>
                      <a:pt x="76" y="22"/>
                    </a:lnTo>
                    <a:lnTo>
                      <a:pt x="82" y="24"/>
                    </a:lnTo>
                    <a:lnTo>
                      <a:pt x="84" y="26"/>
                    </a:lnTo>
                    <a:lnTo>
                      <a:pt x="84" y="29"/>
                    </a:lnTo>
                    <a:lnTo>
                      <a:pt x="90" y="36"/>
                    </a:lnTo>
                    <a:lnTo>
                      <a:pt x="97" y="43"/>
                    </a:lnTo>
                    <a:lnTo>
                      <a:pt x="101" y="47"/>
                    </a:lnTo>
                    <a:lnTo>
                      <a:pt x="105" y="52"/>
                    </a:lnTo>
                    <a:lnTo>
                      <a:pt x="107" y="59"/>
                    </a:lnTo>
                    <a:lnTo>
                      <a:pt x="111" y="66"/>
                    </a:lnTo>
                    <a:lnTo>
                      <a:pt x="117" y="73"/>
                    </a:lnTo>
                    <a:lnTo>
                      <a:pt x="125" y="80"/>
                    </a:lnTo>
                    <a:lnTo>
                      <a:pt x="133" y="85"/>
                    </a:lnTo>
                    <a:lnTo>
                      <a:pt x="142" y="92"/>
                    </a:lnTo>
                    <a:lnTo>
                      <a:pt x="152" y="102"/>
                    </a:lnTo>
                    <a:lnTo>
                      <a:pt x="160" y="113"/>
                    </a:lnTo>
                    <a:lnTo>
                      <a:pt x="162" y="116"/>
                    </a:lnTo>
                    <a:lnTo>
                      <a:pt x="158" y="114"/>
                    </a:lnTo>
                    <a:lnTo>
                      <a:pt x="150" y="109"/>
                    </a:lnTo>
                    <a:lnTo>
                      <a:pt x="140" y="104"/>
                    </a:lnTo>
                    <a:lnTo>
                      <a:pt x="131" y="100"/>
                    </a:lnTo>
                    <a:lnTo>
                      <a:pt x="121" y="97"/>
                    </a:lnTo>
                    <a:lnTo>
                      <a:pt x="113" y="92"/>
                    </a:lnTo>
                    <a:lnTo>
                      <a:pt x="105" y="88"/>
                    </a:lnTo>
                    <a:lnTo>
                      <a:pt x="103" y="87"/>
                    </a:lnTo>
                    <a:lnTo>
                      <a:pt x="103" y="90"/>
                    </a:lnTo>
                    <a:lnTo>
                      <a:pt x="107" y="97"/>
                    </a:lnTo>
                    <a:lnTo>
                      <a:pt x="113" y="106"/>
                    </a:lnTo>
                    <a:lnTo>
                      <a:pt x="121" y="114"/>
                    </a:lnTo>
                    <a:lnTo>
                      <a:pt x="131" y="121"/>
                    </a:lnTo>
                    <a:lnTo>
                      <a:pt x="142" y="127"/>
                    </a:lnTo>
                    <a:lnTo>
                      <a:pt x="152" y="130"/>
                    </a:lnTo>
                    <a:lnTo>
                      <a:pt x="162" y="130"/>
                    </a:lnTo>
                    <a:lnTo>
                      <a:pt x="172" y="132"/>
                    </a:lnTo>
                    <a:lnTo>
                      <a:pt x="180" y="139"/>
                    </a:lnTo>
                    <a:lnTo>
                      <a:pt x="185" y="147"/>
                    </a:lnTo>
                    <a:lnTo>
                      <a:pt x="193" y="154"/>
                    </a:lnTo>
                    <a:lnTo>
                      <a:pt x="205" y="167"/>
                    </a:lnTo>
                    <a:lnTo>
                      <a:pt x="217" y="184"/>
                    </a:lnTo>
                    <a:lnTo>
                      <a:pt x="228" y="200"/>
                    </a:lnTo>
                    <a:lnTo>
                      <a:pt x="236" y="205"/>
                    </a:lnTo>
                    <a:lnTo>
                      <a:pt x="244" y="203"/>
                    </a:lnTo>
                    <a:lnTo>
                      <a:pt x="252" y="205"/>
                    </a:lnTo>
                    <a:lnTo>
                      <a:pt x="258" y="212"/>
                    </a:lnTo>
                    <a:lnTo>
                      <a:pt x="260" y="221"/>
                    </a:lnTo>
                    <a:lnTo>
                      <a:pt x="258" y="233"/>
                    </a:lnTo>
                    <a:lnTo>
                      <a:pt x="254" y="245"/>
                    </a:lnTo>
                    <a:lnTo>
                      <a:pt x="250" y="254"/>
                    </a:lnTo>
                    <a:lnTo>
                      <a:pt x="242" y="252"/>
                    </a:lnTo>
                    <a:lnTo>
                      <a:pt x="234" y="243"/>
                    </a:lnTo>
                    <a:lnTo>
                      <a:pt x="228" y="236"/>
                    </a:lnTo>
                    <a:lnTo>
                      <a:pt x="225" y="233"/>
                    </a:lnTo>
                    <a:lnTo>
                      <a:pt x="223" y="236"/>
                    </a:lnTo>
                    <a:lnTo>
                      <a:pt x="223" y="247"/>
                    </a:lnTo>
                    <a:lnTo>
                      <a:pt x="223" y="259"/>
                    </a:lnTo>
                    <a:lnTo>
                      <a:pt x="221" y="264"/>
                    </a:lnTo>
                    <a:lnTo>
                      <a:pt x="215" y="261"/>
                    </a:lnTo>
                    <a:lnTo>
                      <a:pt x="205" y="252"/>
                    </a:lnTo>
                    <a:lnTo>
                      <a:pt x="195" y="243"/>
                    </a:lnTo>
                    <a:lnTo>
                      <a:pt x="189" y="236"/>
                    </a:lnTo>
                    <a:lnTo>
                      <a:pt x="187" y="228"/>
                    </a:lnTo>
                    <a:lnTo>
                      <a:pt x="189" y="217"/>
                    </a:lnTo>
                    <a:lnTo>
                      <a:pt x="189" y="207"/>
                    </a:lnTo>
                    <a:lnTo>
                      <a:pt x="183" y="198"/>
                    </a:lnTo>
                    <a:lnTo>
                      <a:pt x="172" y="193"/>
                    </a:lnTo>
                    <a:lnTo>
                      <a:pt x="158" y="189"/>
                    </a:lnTo>
                    <a:lnTo>
                      <a:pt x="152" y="186"/>
                    </a:lnTo>
                    <a:lnTo>
                      <a:pt x="148" y="181"/>
                    </a:lnTo>
                    <a:lnTo>
                      <a:pt x="146" y="175"/>
                    </a:lnTo>
                    <a:lnTo>
                      <a:pt x="144" y="168"/>
                    </a:lnTo>
                    <a:lnTo>
                      <a:pt x="140" y="161"/>
                    </a:lnTo>
                    <a:lnTo>
                      <a:pt x="137" y="156"/>
                    </a:lnTo>
                    <a:lnTo>
                      <a:pt x="127" y="153"/>
                    </a:lnTo>
                    <a:lnTo>
                      <a:pt x="119" y="147"/>
                    </a:lnTo>
                    <a:lnTo>
                      <a:pt x="115" y="142"/>
                    </a:lnTo>
                    <a:lnTo>
                      <a:pt x="111" y="137"/>
                    </a:lnTo>
                    <a:lnTo>
                      <a:pt x="101" y="132"/>
                    </a:lnTo>
                    <a:lnTo>
                      <a:pt x="90" y="128"/>
                    </a:lnTo>
                    <a:lnTo>
                      <a:pt x="80" y="125"/>
                    </a:lnTo>
                    <a:lnTo>
                      <a:pt x="74" y="120"/>
                    </a:lnTo>
                    <a:lnTo>
                      <a:pt x="72" y="111"/>
                    </a:lnTo>
                    <a:lnTo>
                      <a:pt x="70" y="99"/>
                    </a:lnTo>
                    <a:lnTo>
                      <a:pt x="64" y="87"/>
                    </a:lnTo>
                    <a:lnTo>
                      <a:pt x="56" y="76"/>
                    </a:lnTo>
                    <a:lnTo>
                      <a:pt x="50" y="66"/>
                    </a:lnTo>
                    <a:lnTo>
                      <a:pt x="48" y="59"/>
                    </a:lnTo>
                    <a:lnTo>
                      <a:pt x="48" y="53"/>
                    </a:lnTo>
                    <a:lnTo>
                      <a:pt x="46" y="50"/>
                    </a:lnTo>
                    <a:lnTo>
                      <a:pt x="41" y="43"/>
                    </a:lnTo>
                    <a:lnTo>
                      <a:pt x="35" y="38"/>
                    </a:lnTo>
                    <a:lnTo>
                      <a:pt x="25" y="31"/>
                    </a:lnTo>
                    <a:lnTo>
                      <a:pt x="17" y="24"/>
                    </a:lnTo>
                    <a:lnTo>
                      <a:pt x="7" y="15"/>
                    </a:lnTo>
                    <a:lnTo>
                      <a:pt x="1" y="8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13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5E4700"/>
                  </a:gs>
                  <a:gs pos="100000">
                    <a:srgbClr val="CC9900"/>
                  </a:gs>
                </a:gsLst>
                <a:lin ang="5400000" scaled="1"/>
              </a:gra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53" name="Freeform 12"/>
              <p:cNvSpPr>
                <a:spLocks/>
              </p:cNvSpPr>
              <p:nvPr/>
            </p:nvSpPr>
            <p:spPr bwMode="auto">
              <a:xfrm>
                <a:off x="3562" y="3523"/>
                <a:ext cx="61" cy="48"/>
              </a:xfrm>
              <a:custGeom>
                <a:avLst/>
                <a:gdLst>
                  <a:gd name="T0" fmla="*/ 1 w 88"/>
                  <a:gd name="T1" fmla="*/ 0 h 80"/>
                  <a:gd name="T2" fmla="*/ 1 w 88"/>
                  <a:gd name="T3" fmla="*/ 0 h 80"/>
                  <a:gd name="T4" fmla="*/ 1 w 88"/>
                  <a:gd name="T5" fmla="*/ 1 h 80"/>
                  <a:gd name="T6" fmla="*/ 1 w 88"/>
                  <a:gd name="T7" fmla="*/ 1 h 80"/>
                  <a:gd name="T8" fmla="*/ 1 w 88"/>
                  <a:gd name="T9" fmla="*/ 1 h 80"/>
                  <a:gd name="T10" fmla="*/ 1 w 88"/>
                  <a:gd name="T11" fmla="*/ 1 h 80"/>
                  <a:gd name="T12" fmla="*/ 1 w 88"/>
                  <a:gd name="T13" fmla="*/ 1 h 80"/>
                  <a:gd name="T14" fmla="*/ 1 w 88"/>
                  <a:gd name="T15" fmla="*/ 1 h 80"/>
                  <a:gd name="T16" fmla="*/ 1 w 88"/>
                  <a:gd name="T17" fmla="*/ 1 h 80"/>
                  <a:gd name="T18" fmla="*/ 1 w 88"/>
                  <a:gd name="T19" fmla="*/ 1 h 80"/>
                  <a:gd name="T20" fmla="*/ 1 w 88"/>
                  <a:gd name="T21" fmla="*/ 1 h 80"/>
                  <a:gd name="T22" fmla="*/ 1 w 88"/>
                  <a:gd name="T23" fmla="*/ 1 h 80"/>
                  <a:gd name="T24" fmla="*/ 1 w 88"/>
                  <a:gd name="T25" fmla="*/ 1 h 80"/>
                  <a:gd name="T26" fmla="*/ 1 w 88"/>
                  <a:gd name="T27" fmla="*/ 1 h 80"/>
                  <a:gd name="T28" fmla="*/ 1 w 88"/>
                  <a:gd name="T29" fmla="*/ 1 h 80"/>
                  <a:gd name="T30" fmla="*/ 1 w 88"/>
                  <a:gd name="T31" fmla="*/ 1 h 80"/>
                  <a:gd name="T32" fmla="*/ 1 w 88"/>
                  <a:gd name="T33" fmla="*/ 1 h 80"/>
                  <a:gd name="T34" fmla="*/ 1 w 88"/>
                  <a:gd name="T35" fmla="*/ 1 h 80"/>
                  <a:gd name="T36" fmla="*/ 1 w 88"/>
                  <a:gd name="T37" fmla="*/ 1 h 80"/>
                  <a:gd name="T38" fmla="*/ 1 w 88"/>
                  <a:gd name="T39" fmla="*/ 1 h 80"/>
                  <a:gd name="T40" fmla="*/ 1 w 88"/>
                  <a:gd name="T41" fmla="*/ 1 h 80"/>
                  <a:gd name="T42" fmla="*/ 0 w 88"/>
                  <a:gd name="T43" fmla="*/ 1 h 80"/>
                  <a:gd name="T44" fmla="*/ 0 w 88"/>
                  <a:gd name="T45" fmla="*/ 1 h 80"/>
                  <a:gd name="T46" fmla="*/ 0 w 88"/>
                  <a:gd name="T47" fmla="*/ 1 h 80"/>
                  <a:gd name="T48" fmla="*/ 1 w 88"/>
                  <a:gd name="T49" fmla="*/ 0 h 8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88"/>
                  <a:gd name="T76" fmla="*/ 0 h 80"/>
                  <a:gd name="T77" fmla="*/ 88 w 88"/>
                  <a:gd name="T78" fmla="*/ 80 h 8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88" h="80">
                    <a:moveTo>
                      <a:pt x="2" y="0"/>
                    </a:moveTo>
                    <a:lnTo>
                      <a:pt x="4" y="0"/>
                    </a:lnTo>
                    <a:lnTo>
                      <a:pt x="10" y="2"/>
                    </a:lnTo>
                    <a:lnTo>
                      <a:pt x="17" y="7"/>
                    </a:lnTo>
                    <a:lnTo>
                      <a:pt x="33" y="17"/>
                    </a:lnTo>
                    <a:lnTo>
                      <a:pt x="47" y="26"/>
                    </a:lnTo>
                    <a:lnTo>
                      <a:pt x="55" y="31"/>
                    </a:lnTo>
                    <a:lnTo>
                      <a:pt x="62" y="37"/>
                    </a:lnTo>
                    <a:lnTo>
                      <a:pt x="74" y="45"/>
                    </a:lnTo>
                    <a:lnTo>
                      <a:pt x="84" y="59"/>
                    </a:lnTo>
                    <a:lnTo>
                      <a:pt x="88" y="71"/>
                    </a:lnTo>
                    <a:lnTo>
                      <a:pt x="88" y="80"/>
                    </a:lnTo>
                    <a:lnTo>
                      <a:pt x="80" y="80"/>
                    </a:lnTo>
                    <a:lnTo>
                      <a:pt x="70" y="75"/>
                    </a:lnTo>
                    <a:lnTo>
                      <a:pt x="62" y="68"/>
                    </a:lnTo>
                    <a:lnTo>
                      <a:pt x="53" y="59"/>
                    </a:lnTo>
                    <a:lnTo>
                      <a:pt x="37" y="47"/>
                    </a:lnTo>
                    <a:lnTo>
                      <a:pt x="25" y="37"/>
                    </a:lnTo>
                    <a:lnTo>
                      <a:pt x="17" y="28"/>
                    </a:lnTo>
                    <a:lnTo>
                      <a:pt x="12" y="23"/>
                    </a:lnTo>
                    <a:lnTo>
                      <a:pt x="6" y="19"/>
                    </a:lnTo>
                    <a:lnTo>
                      <a:pt x="0" y="14"/>
                    </a:lnTo>
                    <a:lnTo>
                      <a:pt x="0" y="7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54" name="Freeform 13"/>
              <p:cNvSpPr>
                <a:spLocks/>
              </p:cNvSpPr>
              <p:nvPr/>
            </p:nvSpPr>
            <p:spPr bwMode="auto">
              <a:xfrm>
                <a:off x="3639" y="3580"/>
                <a:ext cx="84" cy="57"/>
              </a:xfrm>
              <a:custGeom>
                <a:avLst/>
                <a:gdLst>
                  <a:gd name="T0" fmla="*/ 0 w 122"/>
                  <a:gd name="T1" fmla="*/ 0 h 96"/>
                  <a:gd name="T2" fmla="*/ 1 w 122"/>
                  <a:gd name="T3" fmla="*/ 1 h 96"/>
                  <a:gd name="T4" fmla="*/ 1 w 122"/>
                  <a:gd name="T5" fmla="*/ 1 h 96"/>
                  <a:gd name="T6" fmla="*/ 1 w 122"/>
                  <a:gd name="T7" fmla="*/ 1 h 96"/>
                  <a:gd name="T8" fmla="*/ 1 w 122"/>
                  <a:gd name="T9" fmla="*/ 1 h 96"/>
                  <a:gd name="T10" fmla="*/ 1 w 122"/>
                  <a:gd name="T11" fmla="*/ 1 h 96"/>
                  <a:gd name="T12" fmla="*/ 1 w 122"/>
                  <a:gd name="T13" fmla="*/ 1 h 96"/>
                  <a:gd name="T14" fmla="*/ 1 w 122"/>
                  <a:gd name="T15" fmla="*/ 1 h 96"/>
                  <a:gd name="T16" fmla="*/ 1 w 122"/>
                  <a:gd name="T17" fmla="*/ 1 h 96"/>
                  <a:gd name="T18" fmla="*/ 1 w 122"/>
                  <a:gd name="T19" fmla="*/ 1 h 96"/>
                  <a:gd name="T20" fmla="*/ 1 w 122"/>
                  <a:gd name="T21" fmla="*/ 1 h 96"/>
                  <a:gd name="T22" fmla="*/ 1 w 122"/>
                  <a:gd name="T23" fmla="*/ 1 h 96"/>
                  <a:gd name="T24" fmla="*/ 1 w 122"/>
                  <a:gd name="T25" fmla="*/ 1 h 96"/>
                  <a:gd name="T26" fmla="*/ 1 w 122"/>
                  <a:gd name="T27" fmla="*/ 1 h 96"/>
                  <a:gd name="T28" fmla="*/ 1 w 122"/>
                  <a:gd name="T29" fmla="*/ 1 h 96"/>
                  <a:gd name="T30" fmla="*/ 1 w 122"/>
                  <a:gd name="T31" fmla="*/ 1 h 96"/>
                  <a:gd name="T32" fmla="*/ 1 w 122"/>
                  <a:gd name="T33" fmla="*/ 1 h 96"/>
                  <a:gd name="T34" fmla="*/ 1 w 122"/>
                  <a:gd name="T35" fmla="*/ 1 h 96"/>
                  <a:gd name="T36" fmla="*/ 1 w 122"/>
                  <a:gd name="T37" fmla="*/ 1 h 96"/>
                  <a:gd name="T38" fmla="*/ 1 w 122"/>
                  <a:gd name="T39" fmla="*/ 1 h 96"/>
                  <a:gd name="T40" fmla="*/ 1 w 122"/>
                  <a:gd name="T41" fmla="*/ 1 h 96"/>
                  <a:gd name="T42" fmla="*/ 1 w 122"/>
                  <a:gd name="T43" fmla="*/ 1 h 96"/>
                  <a:gd name="T44" fmla="*/ 1 w 122"/>
                  <a:gd name="T45" fmla="*/ 1 h 96"/>
                  <a:gd name="T46" fmla="*/ 1 w 122"/>
                  <a:gd name="T47" fmla="*/ 1 h 96"/>
                  <a:gd name="T48" fmla="*/ 1 w 122"/>
                  <a:gd name="T49" fmla="*/ 1 h 96"/>
                  <a:gd name="T50" fmla="*/ 1 w 122"/>
                  <a:gd name="T51" fmla="*/ 1 h 96"/>
                  <a:gd name="T52" fmla="*/ 1 w 122"/>
                  <a:gd name="T53" fmla="*/ 1 h 96"/>
                  <a:gd name="T54" fmla="*/ 1 w 122"/>
                  <a:gd name="T55" fmla="*/ 1 h 96"/>
                  <a:gd name="T56" fmla="*/ 1 w 122"/>
                  <a:gd name="T57" fmla="*/ 1 h 96"/>
                  <a:gd name="T58" fmla="*/ 1 w 122"/>
                  <a:gd name="T59" fmla="*/ 1 h 96"/>
                  <a:gd name="T60" fmla="*/ 1 w 122"/>
                  <a:gd name="T61" fmla="*/ 1 h 96"/>
                  <a:gd name="T62" fmla="*/ 1 w 122"/>
                  <a:gd name="T63" fmla="*/ 1 h 96"/>
                  <a:gd name="T64" fmla="*/ 1 w 122"/>
                  <a:gd name="T65" fmla="*/ 1 h 96"/>
                  <a:gd name="T66" fmla="*/ 1 w 122"/>
                  <a:gd name="T67" fmla="*/ 1 h 96"/>
                  <a:gd name="T68" fmla="*/ 1 w 122"/>
                  <a:gd name="T69" fmla="*/ 1 h 96"/>
                  <a:gd name="T70" fmla="*/ 1 w 122"/>
                  <a:gd name="T71" fmla="*/ 1 h 96"/>
                  <a:gd name="T72" fmla="*/ 0 w 122"/>
                  <a:gd name="T73" fmla="*/ 0 h 9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22"/>
                  <a:gd name="T112" fmla="*/ 0 h 96"/>
                  <a:gd name="T113" fmla="*/ 122 w 122"/>
                  <a:gd name="T114" fmla="*/ 96 h 9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22" h="96">
                    <a:moveTo>
                      <a:pt x="0" y="0"/>
                    </a:moveTo>
                    <a:lnTo>
                      <a:pt x="2" y="3"/>
                    </a:lnTo>
                    <a:lnTo>
                      <a:pt x="4" y="10"/>
                    </a:lnTo>
                    <a:lnTo>
                      <a:pt x="8" y="19"/>
                    </a:lnTo>
                    <a:lnTo>
                      <a:pt x="12" y="28"/>
                    </a:lnTo>
                    <a:lnTo>
                      <a:pt x="16" y="33"/>
                    </a:lnTo>
                    <a:lnTo>
                      <a:pt x="20" y="35"/>
                    </a:lnTo>
                    <a:lnTo>
                      <a:pt x="24" y="36"/>
                    </a:lnTo>
                    <a:lnTo>
                      <a:pt x="30" y="43"/>
                    </a:lnTo>
                    <a:lnTo>
                      <a:pt x="36" y="50"/>
                    </a:lnTo>
                    <a:lnTo>
                      <a:pt x="43" y="55"/>
                    </a:lnTo>
                    <a:lnTo>
                      <a:pt x="49" y="61"/>
                    </a:lnTo>
                    <a:lnTo>
                      <a:pt x="59" y="68"/>
                    </a:lnTo>
                    <a:lnTo>
                      <a:pt x="69" y="75"/>
                    </a:lnTo>
                    <a:lnTo>
                      <a:pt x="79" y="80"/>
                    </a:lnTo>
                    <a:lnTo>
                      <a:pt x="86" y="85"/>
                    </a:lnTo>
                    <a:lnTo>
                      <a:pt x="94" y="89"/>
                    </a:lnTo>
                    <a:lnTo>
                      <a:pt x="102" y="92"/>
                    </a:lnTo>
                    <a:lnTo>
                      <a:pt x="114" y="96"/>
                    </a:lnTo>
                    <a:lnTo>
                      <a:pt x="122" y="96"/>
                    </a:lnTo>
                    <a:lnTo>
                      <a:pt x="120" y="90"/>
                    </a:lnTo>
                    <a:lnTo>
                      <a:pt x="112" y="80"/>
                    </a:lnTo>
                    <a:lnTo>
                      <a:pt x="104" y="71"/>
                    </a:lnTo>
                    <a:lnTo>
                      <a:pt x="96" y="66"/>
                    </a:lnTo>
                    <a:lnTo>
                      <a:pt x="94" y="64"/>
                    </a:lnTo>
                    <a:lnTo>
                      <a:pt x="92" y="59"/>
                    </a:lnTo>
                    <a:lnTo>
                      <a:pt x="86" y="49"/>
                    </a:lnTo>
                    <a:lnTo>
                      <a:pt x="77" y="40"/>
                    </a:lnTo>
                    <a:lnTo>
                      <a:pt x="67" y="38"/>
                    </a:lnTo>
                    <a:lnTo>
                      <a:pt x="59" y="38"/>
                    </a:lnTo>
                    <a:lnTo>
                      <a:pt x="55" y="33"/>
                    </a:lnTo>
                    <a:lnTo>
                      <a:pt x="53" y="28"/>
                    </a:lnTo>
                    <a:lnTo>
                      <a:pt x="49" y="22"/>
                    </a:lnTo>
                    <a:lnTo>
                      <a:pt x="39" y="15"/>
                    </a:lnTo>
                    <a:lnTo>
                      <a:pt x="26" y="7"/>
                    </a:lnTo>
                    <a:lnTo>
                      <a:pt x="12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55" name="Freeform 14"/>
              <p:cNvSpPr>
                <a:spLocks/>
              </p:cNvSpPr>
              <p:nvPr/>
            </p:nvSpPr>
            <p:spPr bwMode="auto">
              <a:xfrm>
                <a:off x="3470" y="3509"/>
                <a:ext cx="129" cy="112"/>
              </a:xfrm>
              <a:custGeom>
                <a:avLst/>
                <a:gdLst>
                  <a:gd name="T0" fmla="*/ 1 w 186"/>
                  <a:gd name="T1" fmla="*/ 1 h 188"/>
                  <a:gd name="T2" fmla="*/ 1 w 186"/>
                  <a:gd name="T3" fmla="*/ 0 h 188"/>
                  <a:gd name="T4" fmla="*/ 1 w 186"/>
                  <a:gd name="T5" fmla="*/ 1 h 188"/>
                  <a:gd name="T6" fmla="*/ 1 w 186"/>
                  <a:gd name="T7" fmla="*/ 1 h 188"/>
                  <a:gd name="T8" fmla="*/ 0 w 186"/>
                  <a:gd name="T9" fmla="*/ 1 h 188"/>
                  <a:gd name="T10" fmla="*/ 1 w 186"/>
                  <a:gd name="T11" fmla="*/ 1 h 188"/>
                  <a:gd name="T12" fmla="*/ 1 w 186"/>
                  <a:gd name="T13" fmla="*/ 1 h 188"/>
                  <a:gd name="T14" fmla="*/ 1 w 186"/>
                  <a:gd name="T15" fmla="*/ 1 h 188"/>
                  <a:gd name="T16" fmla="*/ 1 w 186"/>
                  <a:gd name="T17" fmla="*/ 1 h 188"/>
                  <a:gd name="T18" fmla="*/ 1 w 186"/>
                  <a:gd name="T19" fmla="*/ 1 h 188"/>
                  <a:gd name="T20" fmla="*/ 1 w 186"/>
                  <a:gd name="T21" fmla="*/ 1 h 188"/>
                  <a:gd name="T22" fmla="*/ 1 w 186"/>
                  <a:gd name="T23" fmla="*/ 1 h 188"/>
                  <a:gd name="T24" fmla="*/ 1 w 186"/>
                  <a:gd name="T25" fmla="*/ 1 h 188"/>
                  <a:gd name="T26" fmla="*/ 1 w 186"/>
                  <a:gd name="T27" fmla="*/ 1 h 188"/>
                  <a:gd name="T28" fmla="*/ 1 w 186"/>
                  <a:gd name="T29" fmla="*/ 1 h 188"/>
                  <a:gd name="T30" fmla="*/ 1 w 186"/>
                  <a:gd name="T31" fmla="*/ 1 h 188"/>
                  <a:gd name="T32" fmla="*/ 1 w 186"/>
                  <a:gd name="T33" fmla="*/ 1 h 188"/>
                  <a:gd name="T34" fmla="*/ 1 w 186"/>
                  <a:gd name="T35" fmla="*/ 1 h 188"/>
                  <a:gd name="T36" fmla="*/ 1 w 186"/>
                  <a:gd name="T37" fmla="*/ 1 h 188"/>
                  <a:gd name="T38" fmla="*/ 1 w 186"/>
                  <a:gd name="T39" fmla="*/ 1 h 188"/>
                  <a:gd name="T40" fmla="*/ 1 w 186"/>
                  <a:gd name="T41" fmla="*/ 1 h 188"/>
                  <a:gd name="T42" fmla="*/ 1 w 186"/>
                  <a:gd name="T43" fmla="*/ 1 h 188"/>
                  <a:gd name="T44" fmla="*/ 1 w 186"/>
                  <a:gd name="T45" fmla="*/ 1 h 188"/>
                  <a:gd name="T46" fmla="*/ 1 w 186"/>
                  <a:gd name="T47" fmla="*/ 1 h 188"/>
                  <a:gd name="T48" fmla="*/ 1 w 186"/>
                  <a:gd name="T49" fmla="*/ 1 h 188"/>
                  <a:gd name="T50" fmla="*/ 1 w 186"/>
                  <a:gd name="T51" fmla="*/ 1 h 188"/>
                  <a:gd name="T52" fmla="*/ 1 w 186"/>
                  <a:gd name="T53" fmla="*/ 1 h 188"/>
                  <a:gd name="T54" fmla="*/ 1 w 186"/>
                  <a:gd name="T55" fmla="*/ 1 h 188"/>
                  <a:gd name="T56" fmla="*/ 1 w 186"/>
                  <a:gd name="T57" fmla="*/ 1 h 188"/>
                  <a:gd name="T58" fmla="*/ 1 w 186"/>
                  <a:gd name="T59" fmla="*/ 1 h 188"/>
                  <a:gd name="T60" fmla="*/ 1 w 186"/>
                  <a:gd name="T61" fmla="*/ 1 h 188"/>
                  <a:gd name="T62" fmla="*/ 1 w 186"/>
                  <a:gd name="T63" fmla="*/ 1 h 188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86"/>
                  <a:gd name="T97" fmla="*/ 0 h 188"/>
                  <a:gd name="T98" fmla="*/ 186 w 186"/>
                  <a:gd name="T99" fmla="*/ 188 h 188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86" h="188">
                    <a:moveTo>
                      <a:pt x="25" y="13"/>
                    </a:moveTo>
                    <a:lnTo>
                      <a:pt x="21" y="9"/>
                    </a:lnTo>
                    <a:lnTo>
                      <a:pt x="13" y="4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11"/>
                    </a:lnTo>
                    <a:lnTo>
                      <a:pt x="2" y="16"/>
                    </a:lnTo>
                    <a:lnTo>
                      <a:pt x="2" y="18"/>
                    </a:lnTo>
                    <a:lnTo>
                      <a:pt x="2" y="20"/>
                    </a:lnTo>
                    <a:lnTo>
                      <a:pt x="0" y="21"/>
                    </a:lnTo>
                    <a:lnTo>
                      <a:pt x="0" y="25"/>
                    </a:lnTo>
                    <a:lnTo>
                      <a:pt x="2" y="28"/>
                    </a:lnTo>
                    <a:lnTo>
                      <a:pt x="8" y="30"/>
                    </a:lnTo>
                    <a:lnTo>
                      <a:pt x="17" y="28"/>
                    </a:lnTo>
                    <a:lnTo>
                      <a:pt x="27" y="28"/>
                    </a:lnTo>
                    <a:lnTo>
                      <a:pt x="33" y="30"/>
                    </a:lnTo>
                    <a:lnTo>
                      <a:pt x="35" y="39"/>
                    </a:lnTo>
                    <a:lnTo>
                      <a:pt x="35" y="49"/>
                    </a:lnTo>
                    <a:lnTo>
                      <a:pt x="39" y="56"/>
                    </a:lnTo>
                    <a:lnTo>
                      <a:pt x="45" y="61"/>
                    </a:lnTo>
                    <a:lnTo>
                      <a:pt x="56" y="68"/>
                    </a:lnTo>
                    <a:lnTo>
                      <a:pt x="72" y="79"/>
                    </a:lnTo>
                    <a:lnTo>
                      <a:pt x="86" y="94"/>
                    </a:lnTo>
                    <a:lnTo>
                      <a:pt x="98" y="110"/>
                    </a:lnTo>
                    <a:lnTo>
                      <a:pt x="107" y="124"/>
                    </a:lnTo>
                    <a:lnTo>
                      <a:pt x="117" y="136"/>
                    </a:lnTo>
                    <a:lnTo>
                      <a:pt x="127" y="145"/>
                    </a:lnTo>
                    <a:lnTo>
                      <a:pt x="137" y="154"/>
                    </a:lnTo>
                    <a:lnTo>
                      <a:pt x="143" y="162"/>
                    </a:lnTo>
                    <a:lnTo>
                      <a:pt x="148" y="171"/>
                    </a:lnTo>
                    <a:lnTo>
                      <a:pt x="154" y="180"/>
                    </a:lnTo>
                    <a:lnTo>
                      <a:pt x="160" y="187"/>
                    </a:lnTo>
                    <a:lnTo>
                      <a:pt x="168" y="188"/>
                    </a:lnTo>
                    <a:lnTo>
                      <a:pt x="176" y="188"/>
                    </a:lnTo>
                    <a:lnTo>
                      <a:pt x="182" y="185"/>
                    </a:lnTo>
                    <a:lnTo>
                      <a:pt x="186" y="180"/>
                    </a:lnTo>
                    <a:lnTo>
                      <a:pt x="182" y="173"/>
                    </a:lnTo>
                    <a:lnTo>
                      <a:pt x="174" y="162"/>
                    </a:lnTo>
                    <a:lnTo>
                      <a:pt x="166" y="152"/>
                    </a:lnTo>
                    <a:lnTo>
                      <a:pt x="156" y="143"/>
                    </a:lnTo>
                    <a:lnTo>
                      <a:pt x="150" y="136"/>
                    </a:lnTo>
                    <a:lnTo>
                      <a:pt x="145" y="134"/>
                    </a:lnTo>
                    <a:lnTo>
                      <a:pt x="139" y="133"/>
                    </a:lnTo>
                    <a:lnTo>
                      <a:pt x="137" y="129"/>
                    </a:lnTo>
                    <a:lnTo>
                      <a:pt x="135" y="124"/>
                    </a:lnTo>
                    <a:lnTo>
                      <a:pt x="135" y="119"/>
                    </a:lnTo>
                    <a:lnTo>
                      <a:pt x="133" y="115"/>
                    </a:lnTo>
                    <a:lnTo>
                      <a:pt x="127" y="110"/>
                    </a:lnTo>
                    <a:lnTo>
                      <a:pt x="119" y="105"/>
                    </a:lnTo>
                    <a:lnTo>
                      <a:pt x="109" y="94"/>
                    </a:lnTo>
                    <a:lnTo>
                      <a:pt x="100" y="80"/>
                    </a:lnTo>
                    <a:lnTo>
                      <a:pt x="90" y="68"/>
                    </a:lnTo>
                    <a:lnTo>
                      <a:pt x="78" y="61"/>
                    </a:lnTo>
                    <a:lnTo>
                      <a:pt x="68" y="60"/>
                    </a:lnTo>
                    <a:lnTo>
                      <a:pt x="60" y="56"/>
                    </a:lnTo>
                    <a:lnTo>
                      <a:pt x="54" y="53"/>
                    </a:lnTo>
                    <a:lnTo>
                      <a:pt x="53" y="46"/>
                    </a:lnTo>
                    <a:lnTo>
                      <a:pt x="51" y="37"/>
                    </a:lnTo>
                    <a:lnTo>
                      <a:pt x="45" y="30"/>
                    </a:lnTo>
                    <a:lnTo>
                      <a:pt x="37" y="23"/>
                    </a:lnTo>
                    <a:lnTo>
                      <a:pt x="27" y="20"/>
                    </a:lnTo>
                    <a:lnTo>
                      <a:pt x="23" y="18"/>
                    </a:lnTo>
                    <a:lnTo>
                      <a:pt x="23" y="14"/>
                    </a:lnTo>
                    <a:lnTo>
                      <a:pt x="23" y="13"/>
                    </a:lnTo>
                    <a:lnTo>
                      <a:pt x="25" y="1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56" name="Freeform 15"/>
              <p:cNvSpPr>
                <a:spLocks/>
              </p:cNvSpPr>
              <p:nvPr/>
            </p:nvSpPr>
            <p:spPr bwMode="auto">
              <a:xfrm>
                <a:off x="3302" y="3338"/>
                <a:ext cx="36" cy="38"/>
              </a:xfrm>
              <a:custGeom>
                <a:avLst/>
                <a:gdLst>
                  <a:gd name="T0" fmla="*/ 1 w 53"/>
                  <a:gd name="T1" fmla="*/ 0 h 65"/>
                  <a:gd name="T2" fmla="*/ 1 w 53"/>
                  <a:gd name="T3" fmla="*/ 1 h 65"/>
                  <a:gd name="T4" fmla="*/ 1 w 53"/>
                  <a:gd name="T5" fmla="*/ 1 h 65"/>
                  <a:gd name="T6" fmla="*/ 1 w 53"/>
                  <a:gd name="T7" fmla="*/ 1 h 65"/>
                  <a:gd name="T8" fmla="*/ 1 w 53"/>
                  <a:gd name="T9" fmla="*/ 1 h 65"/>
                  <a:gd name="T10" fmla="*/ 1 w 53"/>
                  <a:gd name="T11" fmla="*/ 1 h 65"/>
                  <a:gd name="T12" fmla="*/ 1 w 53"/>
                  <a:gd name="T13" fmla="*/ 1 h 65"/>
                  <a:gd name="T14" fmla="*/ 1 w 53"/>
                  <a:gd name="T15" fmla="*/ 1 h 65"/>
                  <a:gd name="T16" fmla="*/ 1 w 53"/>
                  <a:gd name="T17" fmla="*/ 1 h 65"/>
                  <a:gd name="T18" fmla="*/ 1 w 53"/>
                  <a:gd name="T19" fmla="*/ 1 h 65"/>
                  <a:gd name="T20" fmla="*/ 1 w 53"/>
                  <a:gd name="T21" fmla="*/ 1 h 65"/>
                  <a:gd name="T22" fmla="*/ 1 w 53"/>
                  <a:gd name="T23" fmla="*/ 1 h 65"/>
                  <a:gd name="T24" fmla="*/ 1 w 53"/>
                  <a:gd name="T25" fmla="*/ 1 h 65"/>
                  <a:gd name="T26" fmla="*/ 1 w 53"/>
                  <a:gd name="T27" fmla="*/ 1 h 65"/>
                  <a:gd name="T28" fmla="*/ 1 w 53"/>
                  <a:gd name="T29" fmla="*/ 1 h 65"/>
                  <a:gd name="T30" fmla="*/ 1 w 53"/>
                  <a:gd name="T31" fmla="*/ 1 h 65"/>
                  <a:gd name="T32" fmla="*/ 1 w 53"/>
                  <a:gd name="T33" fmla="*/ 1 h 65"/>
                  <a:gd name="T34" fmla="*/ 1 w 53"/>
                  <a:gd name="T35" fmla="*/ 1 h 65"/>
                  <a:gd name="T36" fmla="*/ 0 w 53"/>
                  <a:gd name="T37" fmla="*/ 1 h 65"/>
                  <a:gd name="T38" fmla="*/ 1 w 53"/>
                  <a:gd name="T39" fmla="*/ 1 h 65"/>
                  <a:gd name="T40" fmla="*/ 1 w 53"/>
                  <a:gd name="T41" fmla="*/ 0 h 6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53"/>
                  <a:gd name="T64" fmla="*/ 0 h 65"/>
                  <a:gd name="T65" fmla="*/ 53 w 53"/>
                  <a:gd name="T66" fmla="*/ 65 h 6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53" h="65">
                    <a:moveTo>
                      <a:pt x="8" y="0"/>
                    </a:moveTo>
                    <a:lnTo>
                      <a:pt x="12" y="2"/>
                    </a:lnTo>
                    <a:lnTo>
                      <a:pt x="24" y="5"/>
                    </a:lnTo>
                    <a:lnTo>
                      <a:pt x="35" y="12"/>
                    </a:lnTo>
                    <a:lnTo>
                      <a:pt x="45" y="21"/>
                    </a:lnTo>
                    <a:lnTo>
                      <a:pt x="49" y="31"/>
                    </a:lnTo>
                    <a:lnTo>
                      <a:pt x="53" y="44"/>
                    </a:lnTo>
                    <a:lnTo>
                      <a:pt x="53" y="54"/>
                    </a:lnTo>
                    <a:lnTo>
                      <a:pt x="53" y="63"/>
                    </a:lnTo>
                    <a:lnTo>
                      <a:pt x="51" y="65"/>
                    </a:lnTo>
                    <a:lnTo>
                      <a:pt x="47" y="58"/>
                    </a:lnTo>
                    <a:lnTo>
                      <a:pt x="41" y="47"/>
                    </a:lnTo>
                    <a:lnTo>
                      <a:pt x="31" y="38"/>
                    </a:lnTo>
                    <a:lnTo>
                      <a:pt x="25" y="33"/>
                    </a:lnTo>
                    <a:lnTo>
                      <a:pt x="24" y="28"/>
                    </a:lnTo>
                    <a:lnTo>
                      <a:pt x="20" y="25"/>
                    </a:lnTo>
                    <a:lnTo>
                      <a:pt x="14" y="19"/>
                    </a:lnTo>
                    <a:lnTo>
                      <a:pt x="6" y="14"/>
                    </a:lnTo>
                    <a:lnTo>
                      <a:pt x="0" y="9"/>
                    </a:lnTo>
                    <a:lnTo>
                      <a:pt x="2" y="4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57" name="Freeform 16"/>
              <p:cNvSpPr>
                <a:spLocks/>
              </p:cNvSpPr>
              <p:nvPr/>
            </p:nvSpPr>
            <p:spPr bwMode="auto">
              <a:xfrm>
                <a:off x="3435" y="3397"/>
                <a:ext cx="22" cy="33"/>
              </a:xfrm>
              <a:custGeom>
                <a:avLst/>
                <a:gdLst>
                  <a:gd name="T0" fmla="*/ 1 w 31"/>
                  <a:gd name="T1" fmla="*/ 1 h 56"/>
                  <a:gd name="T2" fmla="*/ 1 w 31"/>
                  <a:gd name="T3" fmla="*/ 1 h 56"/>
                  <a:gd name="T4" fmla="*/ 1 w 31"/>
                  <a:gd name="T5" fmla="*/ 1 h 56"/>
                  <a:gd name="T6" fmla="*/ 0 w 31"/>
                  <a:gd name="T7" fmla="*/ 1 h 56"/>
                  <a:gd name="T8" fmla="*/ 0 w 31"/>
                  <a:gd name="T9" fmla="*/ 1 h 56"/>
                  <a:gd name="T10" fmla="*/ 1 w 31"/>
                  <a:gd name="T11" fmla="*/ 1 h 56"/>
                  <a:gd name="T12" fmla="*/ 1 w 31"/>
                  <a:gd name="T13" fmla="*/ 1 h 56"/>
                  <a:gd name="T14" fmla="*/ 1 w 31"/>
                  <a:gd name="T15" fmla="*/ 1 h 56"/>
                  <a:gd name="T16" fmla="*/ 0 w 31"/>
                  <a:gd name="T17" fmla="*/ 1 h 56"/>
                  <a:gd name="T18" fmla="*/ 1 w 31"/>
                  <a:gd name="T19" fmla="*/ 1 h 56"/>
                  <a:gd name="T20" fmla="*/ 1 w 31"/>
                  <a:gd name="T21" fmla="*/ 1 h 56"/>
                  <a:gd name="T22" fmla="*/ 1 w 31"/>
                  <a:gd name="T23" fmla="*/ 1 h 56"/>
                  <a:gd name="T24" fmla="*/ 1 w 31"/>
                  <a:gd name="T25" fmla="*/ 1 h 56"/>
                  <a:gd name="T26" fmla="*/ 1 w 31"/>
                  <a:gd name="T27" fmla="*/ 1 h 56"/>
                  <a:gd name="T28" fmla="*/ 1 w 31"/>
                  <a:gd name="T29" fmla="*/ 1 h 56"/>
                  <a:gd name="T30" fmla="*/ 1 w 31"/>
                  <a:gd name="T31" fmla="*/ 1 h 56"/>
                  <a:gd name="T32" fmla="*/ 1 w 31"/>
                  <a:gd name="T33" fmla="*/ 1 h 56"/>
                  <a:gd name="T34" fmla="*/ 1 w 31"/>
                  <a:gd name="T35" fmla="*/ 1 h 56"/>
                  <a:gd name="T36" fmla="*/ 1 w 31"/>
                  <a:gd name="T37" fmla="*/ 1 h 56"/>
                  <a:gd name="T38" fmla="*/ 1 w 31"/>
                  <a:gd name="T39" fmla="*/ 0 h 56"/>
                  <a:gd name="T40" fmla="*/ 1 w 31"/>
                  <a:gd name="T41" fmla="*/ 1 h 5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1"/>
                  <a:gd name="T64" fmla="*/ 0 h 56"/>
                  <a:gd name="T65" fmla="*/ 31 w 31"/>
                  <a:gd name="T66" fmla="*/ 56 h 5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1" h="56">
                    <a:moveTo>
                      <a:pt x="4" y="2"/>
                    </a:moveTo>
                    <a:lnTo>
                      <a:pt x="4" y="4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2" y="30"/>
                    </a:lnTo>
                    <a:lnTo>
                      <a:pt x="2" y="37"/>
                    </a:lnTo>
                    <a:lnTo>
                      <a:pt x="2" y="42"/>
                    </a:lnTo>
                    <a:lnTo>
                      <a:pt x="0" y="49"/>
                    </a:lnTo>
                    <a:lnTo>
                      <a:pt x="2" y="54"/>
                    </a:lnTo>
                    <a:lnTo>
                      <a:pt x="8" y="56"/>
                    </a:lnTo>
                    <a:lnTo>
                      <a:pt x="14" y="54"/>
                    </a:lnTo>
                    <a:lnTo>
                      <a:pt x="19" y="47"/>
                    </a:lnTo>
                    <a:lnTo>
                      <a:pt x="25" y="37"/>
                    </a:lnTo>
                    <a:lnTo>
                      <a:pt x="29" y="28"/>
                    </a:lnTo>
                    <a:lnTo>
                      <a:pt x="31" y="21"/>
                    </a:lnTo>
                    <a:lnTo>
                      <a:pt x="29" y="14"/>
                    </a:lnTo>
                    <a:lnTo>
                      <a:pt x="25" y="9"/>
                    </a:lnTo>
                    <a:lnTo>
                      <a:pt x="19" y="4"/>
                    </a:lnTo>
                    <a:lnTo>
                      <a:pt x="12" y="0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58" name="Freeform 17"/>
              <p:cNvSpPr>
                <a:spLocks/>
              </p:cNvSpPr>
              <p:nvPr/>
            </p:nvSpPr>
            <p:spPr bwMode="auto">
              <a:xfrm>
                <a:off x="4131" y="3862"/>
                <a:ext cx="206" cy="63"/>
              </a:xfrm>
              <a:custGeom>
                <a:avLst/>
                <a:gdLst>
                  <a:gd name="T0" fmla="*/ 1 w 295"/>
                  <a:gd name="T1" fmla="*/ 1 h 106"/>
                  <a:gd name="T2" fmla="*/ 1 w 295"/>
                  <a:gd name="T3" fmla="*/ 1 h 106"/>
                  <a:gd name="T4" fmla="*/ 1 w 295"/>
                  <a:gd name="T5" fmla="*/ 1 h 106"/>
                  <a:gd name="T6" fmla="*/ 1 w 295"/>
                  <a:gd name="T7" fmla="*/ 1 h 106"/>
                  <a:gd name="T8" fmla="*/ 1 w 295"/>
                  <a:gd name="T9" fmla="*/ 1 h 106"/>
                  <a:gd name="T10" fmla="*/ 1 w 295"/>
                  <a:gd name="T11" fmla="*/ 1 h 106"/>
                  <a:gd name="T12" fmla="*/ 1 w 295"/>
                  <a:gd name="T13" fmla="*/ 1 h 106"/>
                  <a:gd name="T14" fmla="*/ 1 w 295"/>
                  <a:gd name="T15" fmla="*/ 1 h 106"/>
                  <a:gd name="T16" fmla="*/ 1 w 295"/>
                  <a:gd name="T17" fmla="*/ 1 h 106"/>
                  <a:gd name="T18" fmla="*/ 1 w 295"/>
                  <a:gd name="T19" fmla="*/ 1 h 106"/>
                  <a:gd name="T20" fmla="*/ 1 w 295"/>
                  <a:gd name="T21" fmla="*/ 1 h 106"/>
                  <a:gd name="T22" fmla="*/ 1 w 295"/>
                  <a:gd name="T23" fmla="*/ 1 h 106"/>
                  <a:gd name="T24" fmla="*/ 1 w 295"/>
                  <a:gd name="T25" fmla="*/ 1 h 106"/>
                  <a:gd name="T26" fmla="*/ 1 w 295"/>
                  <a:gd name="T27" fmla="*/ 1 h 106"/>
                  <a:gd name="T28" fmla="*/ 1 w 295"/>
                  <a:gd name="T29" fmla="*/ 1 h 106"/>
                  <a:gd name="T30" fmla="*/ 1 w 295"/>
                  <a:gd name="T31" fmla="*/ 1 h 106"/>
                  <a:gd name="T32" fmla="*/ 1 w 295"/>
                  <a:gd name="T33" fmla="*/ 1 h 106"/>
                  <a:gd name="T34" fmla="*/ 1 w 295"/>
                  <a:gd name="T35" fmla="*/ 1 h 106"/>
                  <a:gd name="T36" fmla="*/ 1 w 295"/>
                  <a:gd name="T37" fmla="*/ 1 h 106"/>
                  <a:gd name="T38" fmla="*/ 1 w 295"/>
                  <a:gd name="T39" fmla="*/ 1 h 106"/>
                  <a:gd name="T40" fmla="*/ 1 w 295"/>
                  <a:gd name="T41" fmla="*/ 1 h 106"/>
                  <a:gd name="T42" fmla="*/ 0 w 295"/>
                  <a:gd name="T43" fmla="*/ 1 h 106"/>
                  <a:gd name="T44" fmla="*/ 1 w 295"/>
                  <a:gd name="T45" fmla="*/ 1 h 106"/>
                  <a:gd name="T46" fmla="*/ 1 w 295"/>
                  <a:gd name="T47" fmla="*/ 1 h 106"/>
                  <a:gd name="T48" fmla="*/ 1 w 295"/>
                  <a:gd name="T49" fmla="*/ 1 h 106"/>
                  <a:gd name="T50" fmla="*/ 1 w 295"/>
                  <a:gd name="T51" fmla="*/ 0 h 106"/>
                  <a:gd name="T52" fmla="*/ 1 w 295"/>
                  <a:gd name="T53" fmla="*/ 1 h 106"/>
                  <a:gd name="T54" fmla="*/ 1 w 295"/>
                  <a:gd name="T55" fmla="*/ 1 h 106"/>
                  <a:gd name="T56" fmla="*/ 1 w 295"/>
                  <a:gd name="T57" fmla="*/ 1 h 106"/>
                  <a:gd name="T58" fmla="*/ 1 w 295"/>
                  <a:gd name="T59" fmla="*/ 1 h 106"/>
                  <a:gd name="T60" fmla="*/ 1 w 295"/>
                  <a:gd name="T61" fmla="*/ 1 h 106"/>
                  <a:gd name="T62" fmla="*/ 1 w 295"/>
                  <a:gd name="T63" fmla="*/ 1 h 10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95"/>
                  <a:gd name="T97" fmla="*/ 0 h 106"/>
                  <a:gd name="T98" fmla="*/ 295 w 295"/>
                  <a:gd name="T99" fmla="*/ 106 h 10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95" h="106">
                    <a:moveTo>
                      <a:pt x="164" y="24"/>
                    </a:moveTo>
                    <a:lnTo>
                      <a:pt x="168" y="26"/>
                    </a:lnTo>
                    <a:lnTo>
                      <a:pt x="176" y="27"/>
                    </a:lnTo>
                    <a:lnTo>
                      <a:pt x="188" y="29"/>
                    </a:lnTo>
                    <a:lnTo>
                      <a:pt x="203" y="29"/>
                    </a:lnTo>
                    <a:lnTo>
                      <a:pt x="217" y="27"/>
                    </a:lnTo>
                    <a:lnTo>
                      <a:pt x="229" y="27"/>
                    </a:lnTo>
                    <a:lnTo>
                      <a:pt x="238" y="33"/>
                    </a:lnTo>
                    <a:lnTo>
                      <a:pt x="250" y="38"/>
                    </a:lnTo>
                    <a:lnTo>
                      <a:pt x="266" y="45"/>
                    </a:lnTo>
                    <a:lnTo>
                      <a:pt x="282" y="52"/>
                    </a:lnTo>
                    <a:lnTo>
                      <a:pt x="293" y="60"/>
                    </a:lnTo>
                    <a:lnTo>
                      <a:pt x="295" y="73"/>
                    </a:lnTo>
                    <a:lnTo>
                      <a:pt x="287" y="83"/>
                    </a:lnTo>
                    <a:lnTo>
                      <a:pt x="278" y="88"/>
                    </a:lnTo>
                    <a:lnTo>
                      <a:pt x="266" y="92"/>
                    </a:lnTo>
                    <a:lnTo>
                      <a:pt x="254" y="97"/>
                    </a:lnTo>
                    <a:lnTo>
                      <a:pt x="248" y="101"/>
                    </a:lnTo>
                    <a:lnTo>
                      <a:pt x="242" y="102"/>
                    </a:lnTo>
                    <a:lnTo>
                      <a:pt x="235" y="104"/>
                    </a:lnTo>
                    <a:lnTo>
                      <a:pt x="229" y="104"/>
                    </a:lnTo>
                    <a:lnTo>
                      <a:pt x="221" y="104"/>
                    </a:lnTo>
                    <a:lnTo>
                      <a:pt x="213" y="102"/>
                    </a:lnTo>
                    <a:lnTo>
                      <a:pt x="203" y="102"/>
                    </a:lnTo>
                    <a:lnTo>
                      <a:pt x="195" y="102"/>
                    </a:lnTo>
                    <a:lnTo>
                      <a:pt x="180" y="102"/>
                    </a:lnTo>
                    <a:lnTo>
                      <a:pt x="170" y="102"/>
                    </a:lnTo>
                    <a:lnTo>
                      <a:pt x="160" y="104"/>
                    </a:lnTo>
                    <a:lnTo>
                      <a:pt x="145" y="106"/>
                    </a:lnTo>
                    <a:lnTo>
                      <a:pt x="135" y="106"/>
                    </a:lnTo>
                    <a:lnTo>
                      <a:pt x="125" y="106"/>
                    </a:lnTo>
                    <a:lnTo>
                      <a:pt x="113" y="106"/>
                    </a:lnTo>
                    <a:lnTo>
                      <a:pt x="103" y="106"/>
                    </a:lnTo>
                    <a:lnTo>
                      <a:pt x="94" y="104"/>
                    </a:lnTo>
                    <a:lnTo>
                      <a:pt x="84" y="102"/>
                    </a:lnTo>
                    <a:lnTo>
                      <a:pt x="74" y="99"/>
                    </a:lnTo>
                    <a:lnTo>
                      <a:pt x="66" y="95"/>
                    </a:lnTo>
                    <a:lnTo>
                      <a:pt x="53" y="85"/>
                    </a:lnTo>
                    <a:lnTo>
                      <a:pt x="39" y="73"/>
                    </a:lnTo>
                    <a:lnTo>
                      <a:pt x="27" y="64"/>
                    </a:lnTo>
                    <a:lnTo>
                      <a:pt x="17" y="60"/>
                    </a:lnTo>
                    <a:lnTo>
                      <a:pt x="8" y="60"/>
                    </a:lnTo>
                    <a:lnTo>
                      <a:pt x="2" y="55"/>
                    </a:lnTo>
                    <a:lnTo>
                      <a:pt x="0" y="48"/>
                    </a:lnTo>
                    <a:lnTo>
                      <a:pt x="6" y="41"/>
                    </a:lnTo>
                    <a:lnTo>
                      <a:pt x="13" y="34"/>
                    </a:lnTo>
                    <a:lnTo>
                      <a:pt x="19" y="31"/>
                    </a:lnTo>
                    <a:lnTo>
                      <a:pt x="19" y="26"/>
                    </a:lnTo>
                    <a:lnTo>
                      <a:pt x="17" y="20"/>
                    </a:lnTo>
                    <a:lnTo>
                      <a:pt x="15" y="13"/>
                    </a:lnTo>
                    <a:lnTo>
                      <a:pt x="17" y="5"/>
                    </a:lnTo>
                    <a:lnTo>
                      <a:pt x="21" y="0"/>
                    </a:lnTo>
                    <a:lnTo>
                      <a:pt x="27" y="1"/>
                    </a:lnTo>
                    <a:lnTo>
                      <a:pt x="35" y="8"/>
                    </a:lnTo>
                    <a:lnTo>
                      <a:pt x="43" y="12"/>
                    </a:lnTo>
                    <a:lnTo>
                      <a:pt x="51" y="12"/>
                    </a:lnTo>
                    <a:lnTo>
                      <a:pt x="58" y="12"/>
                    </a:lnTo>
                    <a:lnTo>
                      <a:pt x="64" y="10"/>
                    </a:lnTo>
                    <a:lnTo>
                      <a:pt x="76" y="10"/>
                    </a:lnTo>
                    <a:lnTo>
                      <a:pt x="90" y="10"/>
                    </a:lnTo>
                    <a:lnTo>
                      <a:pt x="105" y="12"/>
                    </a:lnTo>
                    <a:lnTo>
                      <a:pt x="121" y="13"/>
                    </a:lnTo>
                    <a:lnTo>
                      <a:pt x="139" y="17"/>
                    </a:lnTo>
                    <a:lnTo>
                      <a:pt x="152" y="20"/>
                    </a:lnTo>
                    <a:lnTo>
                      <a:pt x="164" y="24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5E4700"/>
                  </a:gs>
                  <a:gs pos="100000">
                    <a:srgbClr val="CC9900"/>
                  </a:gs>
                </a:gsLst>
                <a:lin ang="5400000" scaled="1"/>
              </a:gra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59" name="Freeform 18"/>
              <p:cNvSpPr>
                <a:spLocks/>
              </p:cNvSpPr>
              <p:nvPr/>
            </p:nvSpPr>
            <p:spPr bwMode="auto">
              <a:xfrm>
                <a:off x="4035" y="3855"/>
                <a:ext cx="87" cy="38"/>
              </a:xfrm>
              <a:custGeom>
                <a:avLst/>
                <a:gdLst>
                  <a:gd name="T0" fmla="*/ 1 w 123"/>
                  <a:gd name="T1" fmla="*/ 1 h 63"/>
                  <a:gd name="T2" fmla="*/ 1 w 123"/>
                  <a:gd name="T3" fmla="*/ 1 h 63"/>
                  <a:gd name="T4" fmla="*/ 1 w 123"/>
                  <a:gd name="T5" fmla="*/ 1 h 63"/>
                  <a:gd name="T6" fmla="*/ 1 w 123"/>
                  <a:gd name="T7" fmla="*/ 1 h 63"/>
                  <a:gd name="T8" fmla="*/ 1 w 123"/>
                  <a:gd name="T9" fmla="*/ 1 h 63"/>
                  <a:gd name="T10" fmla="*/ 1 w 123"/>
                  <a:gd name="T11" fmla="*/ 1 h 63"/>
                  <a:gd name="T12" fmla="*/ 1 w 123"/>
                  <a:gd name="T13" fmla="*/ 1 h 63"/>
                  <a:gd name="T14" fmla="*/ 1 w 123"/>
                  <a:gd name="T15" fmla="*/ 1 h 63"/>
                  <a:gd name="T16" fmla="*/ 1 w 123"/>
                  <a:gd name="T17" fmla="*/ 1 h 63"/>
                  <a:gd name="T18" fmla="*/ 1 w 123"/>
                  <a:gd name="T19" fmla="*/ 1 h 63"/>
                  <a:gd name="T20" fmla="*/ 1 w 123"/>
                  <a:gd name="T21" fmla="*/ 0 h 63"/>
                  <a:gd name="T22" fmla="*/ 1 w 123"/>
                  <a:gd name="T23" fmla="*/ 0 h 63"/>
                  <a:gd name="T24" fmla="*/ 1 w 123"/>
                  <a:gd name="T25" fmla="*/ 1 h 63"/>
                  <a:gd name="T26" fmla="*/ 0 w 123"/>
                  <a:gd name="T27" fmla="*/ 1 h 63"/>
                  <a:gd name="T28" fmla="*/ 1 w 123"/>
                  <a:gd name="T29" fmla="*/ 1 h 63"/>
                  <a:gd name="T30" fmla="*/ 1 w 123"/>
                  <a:gd name="T31" fmla="*/ 1 h 63"/>
                  <a:gd name="T32" fmla="*/ 1 w 123"/>
                  <a:gd name="T33" fmla="*/ 1 h 63"/>
                  <a:gd name="T34" fmla="*/ 1 w 123"/>
                  <a:gd name="T35" fmla="*/ 1 h 63"/>
                  <a:gd name="T36" fmla="*/ 1 w 123"/>
                  <a:gd name="T37" fmla="*/ 1 h 63"/>
                  <a:gd name="T38" fmla="*/ 1 w 123"/>
                  <a:gd name="T39" fmla="*/ 1 h 63"/>
                  <a:gd name="T40" fmla="*/ 1 w 123"/>
                  <a:gd name="T41" fmla="*/ 1 h 63"/>
                  <a:gd name="T42" fmla="*/ 1 w 123"/>
                  <a:gd name="T43" fmla="*/ 1 h 63"/>
                  <a:gd name="T44" fmla="*/ 1 w 123"/>
                  <a:gd name="T45" fmla="*/ 1 h 63"/>
                  <a:gd name="T46" fmla="*/ 1 w 123"/>
                  <a:gd name="T47" fmla="*/ 1 h 63"/>
                  <a:gd name="T48" fmla="*/ 1 w 123"/>
                  <a:gd name="T49" fmla="*/ 1 h 63"/>
                  <a:gd name="T50" fmla="*/ 1 w 123"/>
                  <a:gd name="T51" fmla="*/ 1 h 63"/>
                  <a:gd name="T52" fmla="*/ 1 w 123"/>
                  <a:gd name="T53" fmla="*/ 1 h 63"/>
                  <a:gd name="T54" fmla="*/ 1 w 123"/>
                  <a:gd name="T55" fmla="*/ 1 h 63"/>
                  <a:gd name="T56" fmla="*/ 1 w 123"/>
                  <a:gd name="T57" fmla="*/ 1 h 63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23"/>
                  <a:gd name="T88" fmla="*/ 0 h 63"/>
                  <a:gd name="T89" fmla="*/ 123 w 123"/>
                  <a:gd name="T90" fmla="*/ 63 h 63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23" h="63">
                    <a:moveTo>
                      <a:pt x="123" y="63"/>
                    </a:moveTo>
                    <a:lnTo>
                      <a:pt x="123" y="61"/>
                    </a:lnTo>
                    <a:lnTo>
                      <a:pt x="123" y="54"/>
                    </a:lnTo>
                    <a:lnTo>
                      <a:pt x="115" y="46"/>
                    </a:lnTo>
                    <a:lnTo>
                      <a:pt x="100" y="33"/>
                    </a:lnTo>
                    <a:lnTo>
                      <a:pt x="82" y="23"/>
                    </a:lnTo>
                    <a:lnTo>
                      <a:pt x="70" y="18"/>
                    </a:lnTo>
                    <a:lnTo>
                      <a:pt x="62" y="13"/>
                    </a:lnTo>
                    <a:lnTo>
                      <a:pt x="53" y="9"/>
                    </a:lnTo>
                    <a:lnTo>
                      <a:pt x="43" y="4"/>
                    </a:lnTo>
                    <a:lnTo>
                      <a:pt x="31" y="0"/>
                    </a:lnTo>
                    <a:lnTo>
                      <a:pt x="19" y="0"/>
                    </a:lnTo>
                    <a:lnTo>
                      <a:pt x="6" y="2"/>
                    </a:lnTo>
                    <a:lnTo>
                      <a:pt x="0" y="7"/>
                    </a:lnTo>
                    <a:lnTo>
                      <a:pt x="4" y="16"/>
                    </a:lnTo>
                    <a:lnTo>
                      <a:pt x="13" y="23"/>
                    </a:lnTo>
                    <a:lnTo>
                      <a:pt x="25" y="26"/>
                    </a:lnTo>
                    <a:lnTo>
                      <a:pt x="35" y="26"/>
                    </a:lnTo>
                    <a:lnTo>
                      <a:pt x="43" y="30"/>
                    </a:lnTo>
                    <a:lnTo>
                      <a:pt x="49" y="33"/>
                    </a:lnTo>
                    <a:lnTo>
                      <a:pt x="57" y="39"/>
                    </a:lnTo>
                    <a:lnTo>
                      <a:pt x="64" y="42"/>
                    </a:lnTo>
                    <a:lnTo>
                      <a:pt x="72" y="44"/>
                    </a:lnTo>
                    <a:lnTo>
                      <a:pt x="82" y="44"/>
                    </a:lnTo>
                    <a:lnTo>
                      <a:pt x="90" y="49"/>
                    </a:lnTo>
                    <a:lnTo>
                      <a:pt x="100" y="56"/>
                    </a:lnTo>
                    <a:lnTo>
                      <a:pt x="109" y="61"/>
                    </a:lnTo>
                    <a:lnTo>
                      <a:pt x="119" y="63"/>
                    </a:lnTo>
                    <a:lnTo>
                      <a:pt x="123" y="6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60" name="Freeform 19"/>
              <p:cNvSpPr>
                <a:spLocks/>
              </p:cNvSpPr>
              <p:nvPr/>
            </p:nvSpPr>
            <p:spPr bwMode="auto">
              <a:xfrm>
                <a:off x="3977" y="4000"/>
                <a:ext cx="85" cy="40"/>
              </a:xfrm>
              <a:custGeom>
                <a:avLst/>
                <a:gdLst>
                  <a:gd name="T0" fmla="*/ 1 w 121"/>
                  <a:gd name="T1" fmla="*/ 1 h 66"/>
                  <a:gd name="T2" fmla="*/ 1 w 121"/>
                  <a:gd name="T3" fmla="*/ 1 h 66"/>
                  <a:gd name="T4" fmla="*/ 1 w 121"/>
                  <a:gd name="T5" fmla="*/ 1 h 66"/>
                  <a:gd name="T6" fmla="*/ 1 w 121"/>
                  <a:gd name="T7" fmla="*/ 1 h 66"/>
                  <a:gd name="T8" fmla="*/ 1 w 121"/>
                  <a:gd name="T9" fmla="*/ 1 h 66"/>
                  <a:gd name="T10" fmla="*/ 1 w 121"/>
                  <a:gd name="T11" fmla="*/ 1 h 66"/>
                  <a:gd name="T12" fmla="*/ 1 w 121"/>
                  <a:gd name="T13" fmla="*/ 1 h 66"/>
                  <a:gd name="T14" fmla="*/ 1 w 121"/>
                  <a:gd name="T15" fmla="*/ 0 h 66"/>
                  <a:gd name="T16" fmla="*/ 1 w 121"/>
                  <a:gd name="T17" fmla="*/ 1 h 66"/>
                  <a:gd name="T18" fmla="*/ 1 w 121"/>
                  <a:gd name="T19" fmla="*/ 1 h 66"/>
                  <a:gd name="T20" fmla="*/ 1 w 121"/>
                  <a:gd name="T21" fmla="*/ 1 h 66"/>
                  <a:gd name="T22" fmla="*/ 1 w 121"/>
                  <a:gd name="T23" fmla="*/ 1 h 66"/>
                  <a:gd name="T24" fmla="*/ 1 w 121"/>
                  <a:gd name="T25" fmla="*/ 1 h 66"/>
                  <a:gd name="T26" fmla="*/ 1 w 121"/>
                  <a:gd name="T27" fmla="*/ 1 h 66"/>
                  <a:gd name="T28" fmla="*/ 1 w 121"/>
                  <a:gd name="T29" fmla="*/ 1 h 66"/>
                  <a:gd name="T30" fmla="*/ 0 w 121"/>
                  <a:gd name="T31" fmla="*/ 1 h 66"/>
                  <a:gd name="T32" fmla="*/ 1 w 121"/>
                  <a:gd name="T33" fmla="*/ 1 h 66"/>
                  <a:gd name="T34" fmla="*/ 1 w 121"/>
                  <a:gd name="T35" fmla="*/ 1 h 66"/>
                  <a:gd name="T36" fmla="*/ 1 w 121"/>
                  <a:gd name="T37" fmla="*/ 1 h 66"/>
                  <a:gd name="T38" fmla="*/ 1 w 121"/>
                  <a:gd name="T39" fmla="*/ 1 h 66"/>
                  <a:gd name="T40" fmla="*/ 1 w 121"/>
                  <a:gd name="T41" fmla="*/ 1 h 66"/>
                  <a:gd name="T42" fmla="*/ 1 w 121"/>
                  <a:gd name="T43" fmla="*/ 1 h 66"/>
                  <a:gd name="T44" fmla="*/ 1 w 121"/>
                  <a:gd name="T45" fmla="*/ 1 h 66"/>
                  <a:gd name="T46" fmla="*/ 1 w 121"/>
                  <a:gd name="T47" fmla="*/ 1 h 66"/>
                  <a:gd name="T48" fmla="*/ 1 w 121"/>
                  <a:gd name="T49" fmla="*/ 1 h 66"/>
                  <a:gd name="T50" fmla="*/ 1 w 121"/>
                  <a:gd name="T51" fmla="*/ 1 h 66"/>
                  <a:gd name="T52" fmla="*/ 1 w 121"/>
                  <a:gd name="T53" fmla="*/ 1 h 66"/>
                  <a:gd name="T54" fmla="*/ 1 w 121"/>
                  <a:gd name="T55" fmla="*/ 1 h 66"/>
                  <a:gd name="T56" fmla="*/ 1 w 121"/>
                  <a:gd name="T57" fmla="*/ 1 h 66"/>
                  <a:gd name="T58" fmla="*/ 1 w 121"/>
                  <a:gd name="T59" fmla="*/ 1 h 66"/>
                  <a:gd name="T60" fmla="*/ 1 w 121"/>
                  <a:gd name="T61" fmla="*/ 1 h 66"/>
                  <a:gd name="T62" fmla="*/ 1 w 121"/>
                  <a:gd name="T63" fmla="*/ 1 h 66"/>
                  <a:gd name="T64" fmla="*/ 1 w 121"/>
                  <a:gd name="T65" fmla="*/ 1 h 6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21"/>
                  <a:gd name="T100" fmla="*/ 0 h 66"/>
                  <a:gd name="T101" fmla="*/ 121 w 121"/>
                  <a:gd name="T102" fmla="*/ 66 h 6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21" h="66">
                    <a:moveTo>
                      <a:pt x="121" y="11"/>
                    </a:moveTo>
                    <a:lnTo>
                      <a:pt x="119" y="12"/>
                    </a:lnTo>
                    <a:lnTo>
                      <a:pt x="113" y="14"/>
                    </a:lnTo>
                    <a:lnTo>
                      <a:pt x="105" y="16"/>
                    </a:lnTo>
                    <a:lnTo>
                      <a:pt x="95" y="12"/>
                    </a:lnTo>
                    <a:lnTo>
                      <a:pt x="86" y="7"/>
                    </a:lnTo>
                    <a:lnTo>
                      <a:pt x="74" y="2"/>
                    </a:lnTo>
                    <a:lnTo>
                      <a:pt x="60" y="0"/>
                    </a:lnTo>
                    <a:lnTo>
                      <a:pt x="50" y="4"/>
                    </a:lnTo>
                    <a:lnTo>
                      <a:pt x="41" y="9"/>
                    </a:lnTo>
                    <a:lnTo>
                      <a:pt x="33" y="12"/>
                    </a:lnTo>
                    <a:lnTo>
                      <a:pt x="25" y="16"/>
                    </a:lnTo>
                    <a:lnTo>
                      <a:pt x="17" y="18"/>
                    </a:lnTo>
                    <a:lnTo>
                      <a:pt x="9" y="21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4" y="33"/>
                    </a:lnTo>
                    <a:lnTo>
                      <a:pt x="9" y="37"/>
                    </a:lnTo>
                    <a:lnTo>
                      <a:pt x="9" y="44"/>
                    </a:lnTo>
                    <a:lnTo>
                      <a:pt x="7" y="51"/>
                    </a:lnTo>
                    <a:lnTo>
                      <a:pt x="5" y="58"/>
                    </a:lnTo>
                    <a:lnTo>
                      <a:pt x="9" y="63"/>
                    </a:lnTo>
                    <a:lnTo>
                      <a:pt x="17" y="65"/>
                    </a:lnTo>
                    <a:lnTo>
                      <a:pt x="29" y="66"/>
                    </a:lnTo>
                    <a:lnTo>
                      <a:pt x="43" y="63"/>
                    </a:lnTo>
                    <a:lnTo>
                      <a:pt x="56" y="59"/>
                    </a:lnTo>
                    <a:lnTo>
                      <a:pt x="68" y="59"/>
                    </a:lnTo>
                    <a:lnTo>
                      <a:pt x="80" y="59"/>
                    </a:lnTo>
                    <a:lnTo>
                      <a:pt x="90" y="58"/>
                    </a:lnTo>
                    <a:lnTo>
                      <a:pt x="99" y="51"/>
                    </a:lnTo>
                    <a:lnTo>
                      <a:pt x="111" y="40"/>
                    </a:lnTo>
                    <a:lnTo>
                      <a:pt x="117" y="26"/>
                    </a:lnTo>
                    <a:lnTo>
                      <a:pt x="121" y="11"/>
                    </a:lnTo>
                    <a:close/>
                  </a:path>
                </a:pathLst>
              </a:custGeom>
              <a:solidFill>
                <a:srgbClr val="CC99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61" name="Freeform 20"/>
              <p:cNvSpPr>
                <a:spLocks/>
              </p:cNvSpPr>
              <p:nvPr/>
            </p:nvSpPr>
            <p:spPr bwMode="auto">
              <a:xfrm>
                <a:off x="4127" y="3938"/>
                <a:ext cx="321" cy="53"/>
              </a:xfrm>
              <a:custGeom>
                <a:avLst/>
                <a:gdLst>
                  <a:gd name="T0" fmla="*/ 1 w 462"/>
                  <a:gd name="T1" fmla="*/ 1 h 88"/>
                  <a:gd name="T2" fmla="*/ 1 w 462"/>
                  <a:gd name="T3" fmla="*/ 1 h 88"/>
                  <a:gd name="T4" fmla="*/ 1 w 462"/>
                  <a:gd name="T5" fmla="*/ 1 h 88"/>
                  <a:gd name="T6" fmla="*/ 1 w 462"/>
                  <a:gd name="T7" fmla="*/ 1 h 88"/>
                  <a:gd name="T8" fmla="*/ 1 w 462"/>
                  <a:gd name="T9" fmla="*/ 1 h 88"/>
                  <a:gd name="T10" fmla="*/ 1 w 462"/>
                  <a:gd name="T11" fmla="*/ 1 h 88"/>
                  <a:gd name="T12" fmla="*/ 1 w 462"/>
                  <a:gd name="T13" fmla="*/ 1 h 88"/>
                  <a:gd name="T14" fmla="*/ 1 w 462"/>
                  <a:gd name="T15" fmla="*/ 1 h 88"/>
                  <a:gd name="T16" fmla="*/ 1 w 462"/>
                  <a:gd name="T17" fmla="*/ 1 h 88"/>
                  <a:gd name="T18" fmla="*/ 1 w 462"/>
                  <a:gd name="T19" fmla="*/ 1 h 88"/>
                  <a:gd name="T20" fmla="*/ 1 w 462"/>
                  <a:gd name="T21" fmla="*/ 1 h 88"/>
                  <a:gd name="T22" fmla="*/ 1 w 462"/>
                  <a:gd name="T23" fmla="*/ 1 h 88"/>
                  <a:gd name="T24" fmla="*/ 1 w 462"/>
                  <a:gd name="T25" fmla="*/ 1 h 88"/>
                  <a:gd name="T26" fmla="*/ 1 w 462"/>
                  <a:gd name="T27" fmla="*/ 1 h 88"/>
                  <a:gd name="T28" fmla="*/ 1 w 462"/>
                  <a:gd name="T29" fmla="*/ 1 h 88"/>
                  <a:gd name="T30" fmla="*/ 1 w 462"/>
                  <a:gd name="T31" fmla="*/ 1 h 88"/>
                  <a:gd name="T32" fmla="*/ 1 w 462"/>
                  <a:gd name="T33" fmla="*/ 1 h 88"/>
                  <a:gd name="T34" fmla="*/ 1 w 462"/>
                  <a:gd name="T35" fmla="*/ 1 h 88"/>
                  <a:gd name="T36" fmla="*/ 1 w 462"/>
                  <a:gd name="T37" fmla="*/ 1 h 88"/>
                  <a:gd name="T38" fmla="*/ 1 w 462"/>
                  <a:gd name="T39" fmla="*/ 1 h 88"/>
                  <a:gd name="T40" fmla="*/ 1 w 462"/>
                  <a:gd name="T41" fmla="*/ 1 h 88"/>
                  <a:gd name="T42" fmla="*/ 1 w 462"/>
                  <a:gd name="T43" fmla="*/ 1 h 88"/>
                  <a:gd name="T44" fmla="*/ 1 w 462"/>
                  <a:gd name="T45" fmla="*/ 1 h 88"/>
                  <a:gd name="T46" fmla="*/ 1 w 462"/>
                  <a:gd name="T47" fmla="*/ 1 h 88"/>
                  <a:gd name="T48" fmla="*/ 1 w 462"/>
                  <a:gd name="T49" fmla="*/ 1 h 88"/>
                  <a:gd name="T50" fmla="*/ 1 w 462"/>
                  <a:gd name="T51" fmla="*/ 1 h 88"/>
                  <a:gd name="T52" fmla="*/ 1 w 462"/>
                  <a:gd name="T53" fmla="*/ 1 h 88"/>
                  <a:gd name="T54" fmla="*/ 1 w 462"/>
                  <a:gd name="T55" fmla="*/ 1 h 88"/>
                  <a:gd name="T56" fmla="*/ 1 w 462"/>
                  <a:gd name="T57" fmla="*/ 1 h 88"/>
                  <a:gd name="T58" fmla="*/ 1 w 462"/>
                  <a:gd name="T59" fmla="*/ 1 h 88"/>
                  <a:gd name="T60" fmla="*/ 1 w 462"/>
                  <a:gd name="T61" fmla="*/ 1 h 88"/>
                  <a:gd name="T62" fmla="*/ 1 w 462"/>
                  <a:gd name="T63" fmla="*/ 1 h 88"/>
                  <a:gd name="T64" fmla="*/ 1 w 462"/>
                  <a:gd name="T65" fmla="*/ 1 h 88"/>
                  <a:gd name="T66" fmla="*/ 1 w 462"/>
                  <a:gd name="T67" fmla="*/ 1 h 88"/>
                  <a:gd name="T68" fmla="*/ 1 w 462"/>
                  <a:gd name="T69" fmla="*/ 1 h 88"/>
                  <a:gd name="T70" fmla="*/ 1 w 462"/>
                  <a:gd name="T71" fmla="*/ 1 h 88"/>
                  <a:gd name="T72" fmla="*/ 1 w 462"/>
                  <a:gd name="T73" fmla="*/ 1 h 88"/>
                  <a:gd name="T74" fmla="*/ 1 w 462"/>
                  <a:gd name="T75" fmla="*/ 1 h 88"/>
                  <a:gd name="T76" fmla="*/ 1 w 462"/>
                  <a:gd name="T77" fmla="*/ 1 h 88"/>
                  <a:gd name="T78" fmla="*/ 1 w 462"/>
                  <a:gd name="T79" fmla="*/ 1 h 88"/>
                  <a:gd name="T80" fmla="*/ 1 w 462"/>
                  <a:gd name="T81" fmla="*/ 1 h 88"/>
                  <a:gd name="T82" fmla="*/ 1 w 462"/>
                  <a:gd name="T83" fmla="*/ 1 h 88"/>
                  <a:gd name="T84" fmla="*/ 1 w 462"/>
                  <a:gd name="T85" fmla="*/ 1 h 88"/>
                  <a:gd name="T86" fmla="*/ 1 w 462"/>
                  <a:gd name="T87" fmla="*/ 1 h 88"/>
                  <a:gd name="T88" fmla="*/ 1 w 462"/>
                  <a:gd name="T89" fmla="*/ 1 h 88"/>
                  <a:gd name="T90" fmla="*/ 1 w 462"/>
                  <a:gd name="T91" fmla="*/ 0 h 88"/>
                  <a:gd name="T92" fmla="*/ 1 w 462"/>
                  <a:gd name="T93" fmla="*/ 1 h 88"/>
                  <a:gd name="T94" fmla="*/ 1 w 462"/>
                  <a:gd name="T95" fmla="*/ 1 h 8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462"/>
                  <a:gd name="T145" fmla="*/ 0 h 88"/>
                  <a:gd name="T146" fmla="*/ 462 w 462"/>
                  <a:gd name="T147" fmla="*/ 88 h 88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462" h="88">
                    <a:moveTo>
                      <a:pt x="86" y="33"/>
                    </a:moveTo>
                    <a:lnTo>
                      <a:pt x="84" y="31"/>
                    </a:lnTo>
                    <a:lnTo>
                      <a:pt x="80" y="29"/>
                    </a:lnTo>
                    <a:lnTo>
                      <a:pt x="76" y="26"/>
                    </a:lnTo>
                    <a:lnTo>
                      <a:pt x="68" y="22"/>
                    </a:lnTo>
                    <a:lnTo>
                      <a:pt x="62" y="21"/>
                    </a:lnTo>
                    <a:lnTo>
                      <a:pt x="57" y="19"/>
                    </a:lnTo>
                    <a:lnTo>
                      <a:pt x="49" y="19"/>
                    </a:lnTo>
                    <a:lnTo>
                      <a:pt x="39" y="17"/>
                    </a:lnTo>
                    <a:lnTo>
                      <a:pt x="31" y="17"/>
                    </a:lnTo>
                    <a:lnTo>
                      <a:pt x="23" y="19"/>
                    </a:lnTo>
                    <a:lnTo>
                      <a:pt x="16" y="21"/>
                    </a:lnTo>
                    <a:lnTo>
                      <a:pt x="10" y="22"/>
                    </a:lnTo>
                    <a:lnTo>
                      <a:pt x="2" y="29"/>
                    </a:lnTo>
                    <a:lnTo>
                      <a:pt x="0" y="36"/>
                    </a:lnTo>
                    <a:lnTo>
                      <a:pt x="4" y="41"/>
                    </a:lnTo>
                    <a:lnTo>
                      <a:pt x="17" y="45"/>
                    </a:lnTo>
                    <a:lnTo>
                      <a:pt x="31" y="47"/>
                    </a:lnTo>
                    <a:lnTo>
                      <a:pt x="39" y="50"/>
                    </a:lnTo>
                    <a:lnTo>
                      <a:pt x="45" y="55"/>
                    </a:lnTo>
                    <a:lnTo>
                      <a:pt x="57" y="61"/>
                    </a:lnTo>
                    <a:lnTo>
                      <a:pt x="64" y="62"/>
                    </a:lnTo>
                    <a:lnTo>
                      <a:pt x="70" y="64"/>
                    </a:lnTo>
                    <a:lnTo>
                      <a:pt x="78" y="66"/>
                    </a:lnTo>
                    <a:lnTo>
                      <a:pt x="86" y="66"/>
                    </a:lnTo>
                    <a:lnTo>
                      <a:pt x="94" y="66"/>
                    </a:lnTo>
                    <a:lnTo>
                      <a:pt x="102" y="68"/>
                    </a:lnTo>
                    <a:lnTo>
                      <a:pt x="111" y="68"/>
                    </a:lnTo>
                    <a:lnTo>
                      <a:pt x="123" y="69"/>
                    </a:lnTo>
                    <a:lnTo>
                      <a:pt x="135" y="71"/>
                    </a:lnTo>
                    <a:lnTo>
                      <a:pt x="147" y="75"/>
                    </a:lnTo>
                    <a:lnTo>
                      <a:pt x="156" y="76"/>
                    </a:lnTo>
                    <a:lnTo>
                      <a:pt x="168" y="80"/>
                    </a:lnTo>
                    <a:lnTo>
                      <a:pt x="180" y="81"/>
                    </a:lnTo>
                    <a:lnTo>
                      <a:pt x="192" y="83"/>
                    </a:lnTo>
                    <a:lnTo>
                      <a:pt x="203" y="83"/>
                    </a:lnTo>
                    <a:lnTo>
                      <a:pt x="217" y="81"/>
                    </a:lnTo>
                    <a:lnTo>
                      <a:pt x="231" y="80"/>
                    </a:lnTo>
                    <a:lnTo>
                      <a:pt x="246" y="80"/>
                    </a:lnTo>
                    <a:lnTo>
                      <a:pt x="262" y="80"/>
                    </a:lnTo>
                    <a:lnTo>
                      <a:pt x="278" y="81"/>
                    </a:lnTo>
                    <a:lnTo>
                      <a:pt x="293" y="83"/>
                    </a:lnTo>
                    <a:lnTo>
                      <a:pt x="307" y="85"/>
                    </a:lnTo>
                    <a:lnTo>
                      <a:pt x="321" y="85"/>
                    </a:lnTo>
                    <a:lnTo>
                      <a:pt x="334" y="87"/>
                    </a:lnTo>
                    <a:lnTo>
                      <a:pt x="346" y="88"/>
                    </a:lnTo>
                    <a:lnTo>
                      <a:pt x="360" y="88"/>
                    </a:lnTo>
                    <a:lnTo>
                      <a:pt x="372" y="88"/>
                    </a:lnTo>
                    <a:lnTo>
                      <a:pt x="383" y="87"/>
                    </a:lnTo>
                    <a:lnTo>
                      <a:pt x="395" y="87"/>
                    </a:lnTo>
                    <a:lnTo>
                      <a:pt x="407" y="85"/>
                    </a:lnTo>
                    <a:lnTo>
                      <a:pt x="417" y="85"/>
                    </a:lnTo>
                    <a:lnTo>
                      <a:pt x="426" y="85"/>
                    </a:lnTo>
                    <a:lnTo>
                      <a:pt x="446" y="83"/>
                    </a:lnTo>
                    <a:lnTo>
                      <a:pt x="460" y="76"/>
                    </a:lnTo>
                    <a:lnTo>
                      <a:pt x="462" y="71"/>
                    </a:lnTo>
                    <a:lnTo>
                      <a:pt x="446" y="69"/>
                    </a:lnTo>
                    <a:lnTo>
                      <a:pt x="432" y="69"/>
                    </a:lnTo>
                    <a:lnTo>
                      <a:pt x="417" y="68"/>
                    </a:lnTo>
                    <a:lnTo>
                      <a:pt x="403" y="68"/>
                    </a:lnTo>
                    <a:lnTo>
                      <a:pt x="387" y="66"/>
                    </a:lnTo>
                    <a:lnTo>
                      <a:pt x="372" y="64"/>
                    </a:lnTo>
                    <a:lnTo>
                      <a:pt x="356" y="64"/>
                    </a:lnTo>
                    <a:lnTo>
                      <a:pt x="340" y="62"/>
                    </a:lnTo>
                    <a:lnTo>
                      <a:pt x="323" y="61"/>
                    </a:lnTo>
                    <a:lnTo>
                      <a:pt x="307" y="59"/>
                    </a:lnTo>
                    <a:lnTo>
                      <a:pt x="293" y="57"/>
                    </a:lnTo>
                    <a:lnTo>
                      <a:pt x="282" y="55"/>
                    </a:lnTo>
                    <a:lnTo>
                      <a:pt x="272" y="54"/>
                    </a:lnTo>
                    <a:lnTo>
                      <a:pt x="264" y="54"/>
                    </a:lnTo>
                    <a:lnTo>
                      <a:pt x="256" y="52"/>
                    </a:lnTo>
                    <a:lnTo>
                      <a:pt x="248" y="52"/>
                    </a:lnTo>
                    <a:lnTo>
                      <a:pt x="241" y="52"/>
                    </a:lnTo>
                    <a:lnTo>
                      <a:pt x="233" y="52"/>
                    </a:lnTo>
                    <a:lnTo>
                      <a:pt x="223" y="52"/>
                    </a:lnTo>
                    <a:lnTo>
                      <a:pt x="215" y="52"/>
                    </a:lnTo>
                    <a:lnTo>
                      <a:pt x="205" y="54"/>
                    </a:lnTo>
                    <a:lnTo>
                      <a:pt x="198" y="54"/>
                    </a:lnTo>
                    <a:lnTo>
                      <a:pt x="190" y="52"/>
                    </a:lnTo>
                    <a:lnTo>
                      <a:pt x="182" y="52"/>
                    </a:lnTo>
                    <a:lnTo>
                      <a:pt x="178" y="50"/>
                    </a:lnTo>
                    <a:lnTo>
                      <a:pt x="174" y="45"/>
                    </a:lnTo>
                    <a:lnTo>
                      <a:pt x="174" y="36"/>
                    </a:lnTo>
                    <a:lnTo>
                      <a:pt x="170" y="26"/>
                    </a:lnTo>
                    <a:lnTo>
                      <a:pt x="158" y="17"/>
                    </a:lnTo>
                    <a:lnTo>
                      <a:pt x="145" y="12"/>
                    </a:lnTo>
                    <a:lnTo>
                      <a:pt x="137" y="10"/>
                    </a:lnTo>
                    <a:lnTo>
                      <a:pt x="129" y="8"/>
                    </a:lnTo>
                    <a:lnTo>
                      <a:pt x="117" y="8"/>
                    </a:lnTo>
                    <a:lnTo>
                      <a:pt x="104" y="7"/>
                    </a:lnTo>
                    <a:lnTo>
                      <a:pt x="90" y="1"/>
                    </a:lnTo>
                    <a:lnTo>
                      <a:pt x="78" y="0"/>
                    </a:lnTo>
                    <a:lnTo>
                      <a:pt x="78" y="3"/>
                    </a:lnTo>
                    <a:lnTo>
                      <a:pt x="84" y="12"/>
                    </a:lnTo>
                    <a:lnTo>
                      <a:pt x="88" y="21"/>
                    </a:lnTo>
                    <a:lnTo>
                      <a:pt x="90" y="28"/>
                    </a:lnTo>
                    <a:lnTo>
                      <a:pt x="86" y="33"/>
                    </a:lnTo>
                    <a:close/>
                  </a:path>
                </a:pathLst>
              </a:custGeom>
              <a:solidFill>
                <a:srgbClr val="CC99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62" name="Freeform 21"/>
              <p:cNvSpPr>
                <a:spLocks/>
              </p:cNvSpPr>
              <p:nvPr/>
            </p:nvSpPr>
            <p:spPr bwMode="auto">
              <a:xfrm>
                <a:off x="4229" y="4047"/>
                <a:ext cx="229" cy="38"/>
              </a:xfrm>
              <a:custGeom>
                <a:avLst/>
                <a:gdLst>
                  <a:gd name="T0" fmla="*/ 1 w 328"/>
                  <a:gd name="T1" fmla="*/ 1 h 65"/>
                  <a:gd name="T2" fmla="*/ 1 w 328"/>
                  <a:gd name="T3" fmla="*/ 1 h 65"/>
                  <a:gd name="T4" fmla="*/ 1 w 328"/>
                  <a:gd name="T5" fmla="*/ 1 h 65"/>
                  <a:gd name="T6" fmla="*/ 1 w 328"/>
                  <a:gd name="T7" fmla="*/ 1 h 65"/>
                  <a:gd name="T8" fmla="*/ 1 w 328"/>
                  <a:gd name="T9" fmla="*/ 1 h 65"/>
                  <a:gd name="T10" fmla="*/ 1 w 328"/>
                  <a:gd name="T11" fmla="*/ 1 h 65"/>
                  <a:gd name="T12" fmla="*/ 1 w 328"/>
                  <a:gd name="T13" fmla="*/ 1 h 65"/>
                  <a:gd name="T14" fmla="*/ 1 w 328"/>
                  <a:gd name="T15" fmla="*/ 1 h 65"/>
                  <a:gd name="T16" fmla="*/ 1 w 328"/>
                  <a:gd name="T17" fmla="*/ 1 h 65"/>
                  <a:gd name="T18" fmla="*/ 1 w 328"/>
                  <a:gd name="T19" fmla="*/ 1 h 65"/>
                  <a:gd name="T20" fmla="*/ 1 w 328"/>
                  <a:gd name="T21" fmla="*/ 1 h 65"/>
                  <a:gd name="T22" fmla="*/ 1 w 328"/>
                  <a:gd name="T23" fmla="*/ 1 h 65"/>
                  <a:gd name="T24" fmla="*/ 1 w 328"/>
                  <a:gd name="T25" fmla="*/ 1 h 65"/>
                  <a:gd name="T26" fmla="*/ 1 w 328"/>
                  <a:gd name="T27" fmla="*/ 1 h 65"/>
                  <a:gd name="T28" fmla="*/ 1 w 328"/>
                  <a:gd name="T29" fmla="*/ 1 h 65"/>
                  <a:gd name="T30" fmla="*/ 1 w 328"/>
                  <a:gd name="T31" fmla="*/ 1 h 65"/>
                  <a:gd name="T32" fmla="*/ 1 w 328"/>
                  <a:gd name="T33" fmla="*/ 1 h 65"/>
                  <a:gd name="T34" fmla="*/ 1 w 328"/>
                  <a:gd name="T35" fmla="*/ 1 h 65"/>
                  <a:gd name="T36" fmla="*/ 1 w 328"/>
                  <a:gd name="T37" fmla="*/ 1 h 65"/>
                  <a:gd name="T38" fmla="*/ 1 w 328"/>
                  <a:gd name="T39" fmla="*/ 1 h 65"/>
                  <a:gd name="T40" fmla="*/ 1 w 328"/>
                  <a:gd name="T41" fmla="*/ 1 h 65"/>
                  <a:gd name="T42" fmla="*/ 0 w 328"/>
                  <a:gd name="T43" fmla="*/ 1 h 65"/>
                  <a:gd name="T44" fmla="*/ 1 w 328"/>
                  <a:gd name="T45" fmla="*/ 1 h 65"/>
                  <a:gd name="T46" fmla="*/ 1 w 328"/>
                  <a:gd name="T47" fmla="*/ 1 h 65"/>
                  <a:gd name="T48" fmla="*/ 1 w 328"/>
                  <a:gd name="T49" fmla="*/ 1 h 65"/>
                  <a:gd name="T50" fmla="*/ 1 w 328"/>
                  <a:gd name="T51" fmla="*/ 0 h 65"/>
                  <a:gd name="T52" fmla="*/ 1 w 328"/>
                  <a:gd name="T53" fmla="*/ 1 h 65"/>
                  <a:gd name="T54" fmla="*/ 1 w 328"/>
                  <a:gd name="T55" fmla="*/ 1 h 65"/>
                  <a:gd name="T56" fmla="*/ 1 w 328"/>
                  <a:gd name="T57" fmla="*/ 1 h 65"/>
                  <a:gd name="T58" fmla="*/ 1 w 328"/>
                  <a:gd name="T59" fmla="*/ 1 h 65"/>
                  <a:gd name="T60" fmla="*/ 1 w 328"/>
                  <a:gd name="T61" fmla="*/ 1 h 65"/>
                  <a:gd name="T62" fmla="*/ 1 w 328"/>
                  <a:gd name="T63" fmla="*/ 1 h 65"/>
                  <a:gd name="T64" fmla="*/ 1 w 328"/>
                  <a:gd name="T65" fmla="*/ 1 h 65"/>
                  <a:gd name="T66" fmla="*/ 1 w 328"/>
                  <a:gd name="T67" fmla="*/ 1 h 65"/>
                  <a:gd name="T68" fmla="*/ 1 w 328"/>
                  <a:gd name="T69" fmla="*/ 1 h 65"/>
                  <a:gd name="T70" fmla="*/ 1 w 328"/>
                  <a:gd name="T71" fmla="*/ 1 h 65"/>
                  <a:gd name="T72" fmla="*/ 1 w 328"/>
                  <a:gd name="T73" fmla="*/ 1 h 65"/>
                  <a:gd name="T74" fmla="*/ 1 w 328"/>
                  <a:gd name="T75" fmla="*/ 1 h 6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28"/>
                  <a:gd name="T115" fmla="*/ 0 h 65"/>
                  <a:gd name="T116" fmla="*/ 328 w 328"/>
                  <a:gd name="T117" fmla="*/ 65 h 6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28" h="65">
                    <a:moveTo>
                      <a:pt x="287" y="20"/>
                    </a:moveTo>
                    <a:lnTo>
                      <a:pt x="289" y="20"/>
                    </a:lnTo>
                    <a:lnTo>
                      <a:pt x="297" y="21"/>
                    </a:lnTo>
                    <a:lnTo>
                      <a:pt x="305" y="25"/>
                    </a:lnTo>
                    <a:lnTo>
                      <a:pt x="313" y="32"/>
                    </a:lnTo>
                    <a:lnTo>
                      <a:pt x="321" y="40"/>
                    </a:lnTo>
                    <a:lnTo>
                      <a:pt x="328" y="51"/>
                    </a:lnTo>
                    <a:lnTo>
                      <a:pt x="328" y="60"/>
                    </a:lnTo>
                    <a:lnTo>
                      <a:pt x="315" y="61"/>
                    </a:lnTo>
                    <a:lnTo>
                      <a:pt x="305" y="60"/>
                    </a:lnTo>
                    <a:lnTo>
                      <a:pt x="295" y="58"/>
                    </a:lnTo>
                    <a:lnTo>
                      <a:pt x="289" y="58"/>
                    </a:lnTo>
                    <a:lnTo>
                      <a:pt x="281" y="56"/>
                    </a:lnTo>
                    <a:lnTo>
                      <a:pt x="276" y="56"/>
                    </a:lnTo>
                    <a:lnTo>
                      <a:pt x="270" y="54"/>
                    </a:lnTo>
                    <a:lnTo>
                      <a:pt x="264" y="54"/>
                    </a:lnTo>
                    <a:lnTo>
                      <a:pt x="256" y="53"/>
                    </a:lnTo>
                    <a:lnTo>
                      <a:pt x="240" y="51"/>
                    </a:lnTo>
                    <a:lnTo>
                      <a:pt x="225" y="46"/>
                    </a:lnTo>
                    <a:lnTo>
                      <a:pt x="211" y="44"/>
                    </a:lnTo>
                    <a:lnTo>
                      <a:pt x="199" y="46"/>
                    </a:lnTo>
                    <a:lnTo>
                      <a:pt x="193" y="47"/>
                    </a:lnTo>
                    <a:lnTo>
                      <a:pt x="187" y="51"/>
                    </a:lnTo>
                    <a:lnTo>
                      <a:pt x="180" y="56"/>
                    </a:lnTo>
                    <a:lnTo>
                      <a:pt x="174" y="60"/>
                    </a:lnTo>
                    <a:lnTo>
                      <a:pt x="164" y="61"/>
                    </a:lnTo>
                    <a:lnTo>
                      <a:pt x="154" y="65"/>
                    </a:lnTo>
                    <a:lnTo>
                      <a:pt x="144" y="65"/>
                    </a:lnTo>
                    <a:lnTo>
                      <a:pt x="131" y="63"/>
                    </a:lnTo>
                    <a:lnTo>
                      <a:pt x="119" y="61"/>
                    </a:lnTo>
                    <a:lnTo>
                      <a:pt x="107" y="61"/>
                    </a:lnTo>
                    <a:lnTo>
                      <a:pt x="97" y="61"/>
                    </a:lnTo>
                    <a:lnTo>
                      <a:pt x="90" y="61"/>
                    </a:lnTo>
                    <a:lnTo>
                      <a:pt x="80" y="63"/>
                    </a:lnTo>
                    <a:lnTo>
                      <a:pt x="70" y="61"/>
                    </a:lnTo>
                    <a:lnTo>
                      <a:pt x="60" y="61"/>
                    </a:lnTo>
                    <a:lnTo>
                      <a:pt x="49" y="58"/>
                    </a:lnTo>
                    <a:lnTo>
                      <a:pt x="37" y="54"/>
                    </a:lnTo>
                    <a:lnTo>
                      <a:pt x="25" y="51"/>
                    </a:lnTo>
                    <a:lnTo>
                      <a:pt x="15" y="49"/>
                    </a:lnTo>
                    <a:lnTo>
                      <a:pt x="7" y="46"/>
                    </a:lnTo>
                    <a:lnTo>
                      <a:pt x="2" y="44"/>
                    </a:lnTo>
                    <a:lnTo>
                      <a:pt x="0" y="40"/>
                    </a:lnTo>
                    <a:lnTo>
                      <a:pt x="4" y="39"/>
                    </a:lnTo>
                    <a:lnTo>
                      <a:pt x="15" y="35"/>
                    </a:lnTo>
                    <a:lnTo>
                      <a:pt x="23" y="30"/>
                    </a:lnTo>
                    <a:lnTo>
                      <a:pt x="23" y="25"/>
                    </a:lnTo>
                    <a:lnTo>
                      <a:pt x="17" y="21"/>
                    </a:lnTo>
                    <a:lnTo>
                      <a:pt x="11" y="16"/>
                    </a:lnTo>
                    <a:lnTo>
                      <a:pt x="11" y="7"/>
                    </a:lnTo>
                    <a:lnTo>
                      <a:pt x="17" y="0"/>
                    </a:lnTo>
                    <a:lnTo>
                      <a:pt x="29" y="2"/>
                    </a:lnTo>
                    <a:lnTo>
                      <a:pt x="43" y="6"/>
                    </a:lnTo>
                    <a:lnTo>
                      <a:pt x="54" y="9"/>
                    </a:lnTo>
                    <a:lnTo>
                      <a:pt x="64" y="9"/>
                    </a:lnTo>
                    <a:lnTo>
                      <a:pt x="74" y="11"/>
                    </a:lnTo>
                    <a:lnTo>
                      <a:pt x="86" y="14"/>
                    </a:lnTo>
                    <a:lnTo>
                      <a:pt x="99" y="20"/>
                    </a:lnTo>
                    <a:lnTo>
                      <a:pt x="111" y="25"/>
                    </a:lnTo>
                    <a:lnTo>
                      <a:pt x="123" y="28"/>
                    </a:lnTo>
                    <a:lnTo>
                      <a:pt x="133" y="28"/>
                    </a:lnTo>
                    <a:lnTo>
                      <a:pt x="142" y="25"/>
                    </a:lnTo>
                    <a:lnTo>
                      <a:pt x="152" y="18"/>
                    </a:lnTo>
                    <a:lnTo>
                      <a:pt x="162" y="11"/>
                    </a:lnTo>
                    <a:lnTo>
                      <a:pt x="170" y="6"/>
                    </a:lnTo>
                    <a:lnTo>
                      <a:pt x="176" y="6"/>
                    </a:lnTo>
                    <a:lnTo>
                      <a:pt x="184" y="7"/>
                    </a:lnTo>
                    <a:lnTo>
                      <a:pt x="189" y="11"/>
                    </a:lnTo>
                    <a:lnTo>
                      <a:pt x="201" y="13"/>
                    </a:lnTo>
                    <a:lnTo>
                      <a:pt x="219" y="9"/>
                    </a:lnTo>
                    <a:lnTo>
                      <a:pt x="234" y="7"/>
                    </a:lnTo>
                    <a:lnTo>
                      <a:pt x="246" y="9"/>
                    </a:lnTo>
                    <a:lnTo>
                      <a:pt x="256" y="14"/>
                    </a:lnTo>
                    <a:lnTo>
                      <a:pt x="270" y="16"/>
                    </a:lnTo>
                    <a:lnTo>
                      <a:pt x="281" y="20"/>
                    </a:lnTo>
                    <a:lnTo>
                      <a:pt x="287" y="2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5E4700"/>
                  </a:gs>
                  <a:gs pos="100000">
                    <a:srgbClr val="CC9900"/>
                  </a:gs>
                </a:gsLst>
                <a:lin ang="5400000" scaled="1"/>
              </a:gra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63" name="Freeform 22"/>
              <p:cNvSpPr>
                <a:spLocks/>
              </p:cNvSpPr>
              <p:nvPr/>
            </p:nvSpPr>
            <p:spPr bwMode="auto">
              <a:xfrm>
                <a:off x="4293" y="4140"/>
                <a:ext cx="59" cy="25"/>
              </a:xfrm>
              <a:custGeom>
                <a:avLst/>
                <a:gdLst>
                  <a:gd name="T0" fmla="*/ 1 w 86"/>
                  <a:gd name="T1" fmla="*/ 1 h 42"/>
                  <a:gd name="T2" fmla="*/ 1 w 86"/>
                  <a:gd name="T3" fmla="*/ 1 h 42"/>
                  <a:gd name="T4" fmla="*/ 1 w 86"/>
                  <a:gd name="T5" fmla="*/ 1 h 42"/>
                  <a:gd name="T6" fmla="*/ 1 w 86"/>
                  <a:gd name="T7" fmla="*/ 1 h 42"/>
                  <a:gd name="T8" fmla="*/ 1 w 86"/>
                  <a:gd name="T9" fmla="*/ 1 h 42"/>
                  <a:gd name="T10" fmla="*/ 1 w 86"/>
                  <a:gd name="T11" fmla="*/ 1 h 42"/>
                  <a:gd name="T12" fmla="*/ 1 w 86"/>
                  <a:gd name="T13" fmla="*/ 1 h 42"/>
                  <a:gd name="T14" fmla="*/ 1 w 86"/>
                  <a:gd name="T15" fmla="*/ 1 h 42"/>
                  <a:gd name="T16" fmla="*/ 1 w 86"/>
                  <a:gd name="T17" fmla="*/ 1 h 42"/>
                  <a:gd name="T18" fmla="*/ 1 w 86"/>
                  <a:gd name="T19" fmla="*/ 1 h 42"/>
                  <a:gd name="T20" fmla="*/ 1 w 86"/>
                  <a:gd name="T21" fmla="*/ 1 h 42"/>
                  <a:gd name="T22" fmla="*/ 1 w 86"/>
                  <a:gd name="T23" fmla="*/ 1 h 42"/>
                  <a:gd name="T24" fmla="*/ 1 w 86"/>
                  <a:gd name="T25" fmla="*/ 1 h 42"/>
                  <a:gd name="T26" fmla="*/ 1 w 86"/>
                  <a:gd name="T27" fmla="*/ 1 h 42"/>
                  <a:gd name="T28" fmla="*/ 1 w 86"/>
                  <a:gd name="T29" fmla="*/ 1 h 42"/>
                  <a:gd name="T30" fmla="*/ 0 w 86"/>
                  <a:gd name="T31" fmla="*/ 1 h 42"/>
                  <a:gd name="T32" fmla="*/ 1 w 86"/>
                  <a:gd name="T33" fmla="*/ 0 h 42"/>
                  <a:gd name="T34" fmla="*/ 1 w 86"/>
                  <a:gd name="T35" fmla="*/ 1 h 42"/>
                  <a:gd name="T36" fmla="*/ 1 w 86"/>
                  <a:gd name="T37" fmla="*/ 1 h 42"/>
                  <a:gd name="T38" fmla="*/ 1 w 86"/>
                  <a:gd name="T39" fmla="*/ 1 h 42"/>
                  <a:gd name="T40" fmla="*/ 1 w 86"/>
                  <a:gd name="T41" fmla="*/ 1 h 4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86"/>
                  <a:gd name="T64" fmla="*/ 0 h 42"/>
                  <a:gd name="T65" fmla="*/ 86 w 86"/>
                  <a:gd name="T66" fmla="*/ 42 h 4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86" h="42">
                    <a:moveTo>
                      <a:pt x="45" y="7"/>
                    </a:moveTo>
                    <a:lnTo>
                      <a:pt x="50" y="6"/>
                    </a:lnTo>
                    <a:lnTo>
                      <a:pt x="62" y="6"/>
                    </a:lnTo>
                    <a:lnTo>
                      <a:pt x="76" y="7"/>
                    </a:lnTo>
                    <a:lnTo>
                      <a:pt x="84" y="13"/>
                    </a:lnTo>
                    <a:lnTo>
                      <a:pt x="86" y="23"/>
                    </a:lnTo>
                    <a:lnTo>
                      <a:pt x="84" y="32"/>
                    </a:lnTo>
                    <a:lnTo>
                      <a:pt x="74" y="39"/>
                    </a:lnTo>
                    <a:lnTo>
                      <a:pt x="56" y="42"/>
                    </a:lnTo>
                    <a:lnTo>
                      <a:pt x="39" y="42"/>
                    </a:lnTo>
                    <a:lnTo>
                      <a:pt x="29" y="39"/>
                    </a:lnTo>
                    <a:lnTo>
                      <a:pt x="23" y="35"/>
                    </a:lnTo>
                    <a:lnTo>
                      <a:pt x="17" y="30"/>
                    </a:lnTo>
                    <a:lnTo>
                      <a:pt x="7" y="21"/>
                    </a:lnTo>
                    <a:lnTo>
                      <a:pt x="2" y="9"/>
                    </a:lnTo>
                    <a:lnTo>
                      <a:pt x="0" y="2"/>
                    </a:lnTo>
                    <a:lnTo>
                      <a:pt x="5" y="0"/>
                    </a:lnTo>
                    <a:lnTo>
                      <a:pt x="17" y="4"/>
                    </a:lnTo>
                    <a:lnTo>
                      <a:pt x="27" y="7"/>
                    </a:lnTo>
                    <a:lnTo>
                      <a:pt x="35" y="9"/>
                    </a:lnTo>
                    <a:lnTo>
                      <a:pt x="45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64" name="Freeform 23"/>
              <p:cNvSpPr>
                <a:spLocks/>
              </p:cNvSpPr>
              <p:nvPr/>
            </p:nvSpPr>
            <p:spPr bwMode="auto">
              <a:xfrm>
                <a:off x="4391" y="4027"/>
                <a:ext cx="656" cy="271"/>
              </a:xfrm>
              <a:custGeom>
                <a:avLst/>
                <a:gdLst>
                  <a:gd name="T0" fmla="*/ 1 w 945"/>
                  <a:gd name="T1" fmla="*/ 1 h 454"/>
                  <a:gd name="T2" fmla="*/ 1 w 945"/>
                  <a:gd name="T3" fmla="*/ 0 h 454"/>
                  <a:gd name="T4" fmla="*/ 1 w 945"/>
                  <a:gd name="T5" fmla="*/ 1 h 454"/>
                  <a:gd name="T6" fmla="*/ 1 w 945"/>
                  <a:gd name="T7" fmla="*/ 1 h 454"/>
                  <a:gd name="T8" fmla="*/ 1 w 945"/>
                  <a:gd name="T9" fmla="*/ 1 h 454"/>
                  <a:gd name="T10" fmla="*/ 1 w 945"/>
                  <a:gd name="T11" fmla="*/ 1 h 454"/>
                  <a:gd name="T12" fmla="*/ 1 w 945"/>
                  <a:gd name="T13" fmla="*/ 1 h 454"/>
                  <a:gd name="T14" fmla="*/ 1 w 945"/>
                  <a:gd name="T15" fmla="*/ 1 h 454"/>
                  <a:gd name="T16" fmla="*/ 1 w 945"/>
                  <a:gd name="T17" fmla="*/ 1 h 454"/>
                  <a:gd name="T18" fmla="*/ 1 w 945"/>
                  <a:gd name="T19" fmla="*/ 1 h 454"/>
                  <a:gd name="T20" fmla="*/ 1 w 945"/>
                  <a:gd name="T21" fmla="*/ 1 h 454"/>
                  <a:gd name="T22" fmla="*/ 1 w 945"/>
                  <a:gd name="T23" fmla="*/ 1 h 454"/>
                  <a:gd name="T24" fmla="*/ 1 w 945"/>
                  <a:gd name="T25" fmla="*/ 1 h 454"/>
                  <a:gd name="T26" fmla="*/ 1 w 945"/>
                  <a:gd name="T27" fmla="*/ 1 h 454"/>
                  <a:gd name="T28" fmla="*/ 1 w 945"/>
                  <a:gd name="T29" fmla="*/ 1 h 454"/>
                  <a:gd name="T30" fmla="*/ 1 w 945"/>
                  <a:gd name="T31" fmla="*/ 1 h 454"/>
                  <a:gd name="T32" fmla="*/ 1 w 945"/>
                  <a:gd name="T33" fmla="*/ 1 h 454"/>
                  <a:gd name="T34" fmla="*/ 1 w 945"/>
                  <a:gd name="T35" fmla="*/ 1 h 454"/>
                  <a:gd name="T36" fmla="*/ 1 w 945"/>
                  <a:gd name="T37" fmla="*/ 1 h 454"/>
                  <a:gd name="T38" fmla="*/ 1 w 945"/>
                  <a:gd name="T39" fmla="*/ 1 h 454"/>
                  <a:gd name="T40" fmla="*/ 1 w 945"/>
                  <a:gd name="T41" fmla="*/ 1 h 454"/>
                  <a:gd name="T42" fmla="*/ 1 w 945"/>
                  <a:gd name="T43" fmla="*/ 1 h 454"/>
                  <a:gd name="T44" fmla="*/ 1 w 945"/>
                  <a:gd name="T45" fmla="*/ 1 h 454"/>
                  <a:gd name="T46" fmla="*/ 1 w 945"/>
                  <a:gd name="T47" fmla="*/ 1 h 454"/>
                  <a:gd name="T48" fmla="*/ 1 w 945"/>
                  <a:gd name="T49" fmla="*/ 1 h 454"/>
                  <a:gd name="T50" fmla="*/ 1 w 945"/>
                  <a:gd name="T51" fmla="*/ 1 h 454"/>
                  <a:gd name="T52" fmla="*/ 1 w 945"/>
                  <a:gd name="T53" fmla="*/ 1 h 454"/>
                  <a:gd name="T54" fmla="*/ 1 w 945"/>
                  <a:gd name="T55" fmla="*/ 1 h 454"/>
                  <a:gd name="T56" fmla="*/ 1 w 945"/>
                  <a:gd name="T57" fmla="*/ 1 h 454"/>
                  <a:gd name="T58" fmla="*/ 1 w 945"/>
                  <a:gd name="T59" fmla="*/ 1 h 454"/>
                  <a:gd name="T60" fmla="*/ 1 w 945"/>
                  <a:gd name="T61" fmla="*/ 1 h 454"/>
                  <a:gd name="T62" fmla="*/ 1 w 945"/>
                  <a:gd name="T63" fmla="*/ 1 h 454"/>
                  <a:gd name="T64" fmla="*/ 1 w 945"/>
                  <a:gd name="T65" fmla="*/ 1 h 454"/>
                  <a:gd name="T66" fmla="*/ 1 w 945"/>
                  <a:gd name="T67" fmla="*/ 1 h 454"/>
                  <a:gd name="T68" fmla="*/ 1 w 945"/>
                  <a:gd name="T69" fmla="*/ 1 h 454"/>
                  <a:gd name="T70" fmla="*/ 1 w 945"/>
                  <a:gd name="T71" fmla="*/ 1 h 454"/>
                  <a:gd name="T72" fmla="*/ 1 w 945"/>
                  <a:gd name="T73" fmla="*/ 1 h 454"/>
                  <a:gd name="T74" fmla="*/ 1 w 945"/>
                  <a:gd name="T75" fmla="*/ 1 h 454"/>
                  <a:gd name="T76" fmla="*/ 1 w 945"/>
                  <a:gd name="T77" fmla="*/ 1 h 454"/>
                  <a:gd name="T78" fmla="*/ 1 w 945"/>
                  <a:gd name="T79" fmla="*/ 1 h 454"/>
                  <a:gd name="T80" fmla="*/ 1 w 945"/>
                  <a:gd name="T81" fmla="*/ 1 h 454"/>
                  <a:gd name="T82" fmla="*/ 1 w 945"/>
                  <a:gd name="T83" fmla="*/ 1 h 454"/>
                  <a:gd name="T84" fmla="*/ 1 w 945"/>
                  <a:gd name="T85" fmla="*/ 1 h 454"/>
                  <a:gd name="T86" fmla="*/ 1 w 945"/>
                  <a:gd name="T87" fmla="*/ 1 h 454"/>
                  <a:gd name="T88" fmla="*/ 1 w 945"/>
                  <a:gd name="T89" fmla="*/ 1 h 454"/>
                  <a:gd name="T90" fmla="*/ 1 w 945"/>
                  <a:gd name="T91" fmla="*/ 1 h 454"/>
                  <a:gd name="T92" fmla="*/ 1 w 945"/>
                  <a:gd name="T93" fmla="*/ 1 h 454"/>
                  <a:gd name="T94" fmla="*/ 1 w 945"/>
                  <a:gd name="T95" fmla="*/ 1 h 454"/>
                  <a:gd name="T96" fmla="*/ 1 w 945"/>
                  <a:gd name="T97" fmla="*/ 1 h 454"/>
                  <a:gd name="T98" fmla="*/ 1 w 945"/>
                  <a:gd name="T99" fmla="*/ 1 h 454"/>
                  <a:gd name="T100" fmla="*/ 1 w 945"/>
                  <a:gd name="T101" fmla="*/ 1 h 454"/>
                  <a:gd name="T102" fmla="*/ 1 w 945"/>
                  <a:gd name="T103" fmla="*/ 1 h 454"/>
                  <a:gd name="T104" fmla="*/ 1 w 945"/>
                  <a:gd name="T105" fmla="*/ 1 h 45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945"/>
                  <a:gd name="T160" fmla="*/ 0 h 454"/>
                  <a:gd name="T161" fmla="*/ 945 w 945"/>
                  <a:gd name="T162" fmla="*/ 454 h 454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945" h="454">
                    <a:moveTo>
                      <a:pt x="68" y="1"/>
                    </a:moveTo>
                    <a:lnTo>
                      <a:pt x="64" y="1"/>
                    </a:lnTo>
                    <a:lnTo>
                      <a:pt x="56" y="3"/>
                    </a:lnTo>
                    <a:lnTo>
                      <a:pt x="45" y="5"/>
                    </a:lnTo>
                    <a:lnTo>
                      <a:pt x="33" y="3"/>
                    </a:lnTo>
                    <a:lnTo>
                      <a:pt x="23" y="1"/>
                    </a:lnTo>
                    <a:lnTo>
                      <a:pt x="11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7" y="27"/>
                    </a:lnTo>
                    <a:lnTo>
                      <a:pt x="39" y="33"/>
                    </a:lnTo>
                    <a:lnTo>
                      <a:pt x="50" y="34"/>
                    </a:lnTo>
                    <a:lnTo>
                      <a:pt x="62" y="36"/>
                    </a:lnTo>
                    <a:lnTo>
                      <a:pt x="72" y="36"/>
                    </a:lnTo>
                    <a:lnTo>
                      <a:pt x="80" y="38"/>
                    </a:lnTo>
                    <a:lnTo>
                      <a:pt x="90" y="38"/>
                    </a:lnTo>
                    <a:lnTo>
                      <a:pt x="97" y="40"/>
                    </a:lnTo>
                    <a:lnTo>
                      <a:pt x="107" y="41"/>
                    </a:lnTo>
                    <a:lnTo>
                      <a:pt x="115" y="45"/>
                    </a:lnTo>
                    <a:lnTo>
                      <a:pt x="125" y="48"/>
                    </a:lnTo>
                    <a:lnTo>
                      <a:pt x="136" y="54"/>
                    </a:lnTo>
                    <a:lnTo>
                      <a:pt x="148" y="59"/>
                    </a:lnTo>
                    <a:lnTo>
                      <a:pt x="160" y="64"/>
                    </a:lnTo>
                    <a:lnTo>
                      <a:pt x="170" y="69"/>
                    </a:lnTo>
                    <a:lnTo>
                      <a:pt x="180" y="74"/>
                    </a:lnTo>
                    <a:lnTo>
                      <a:pt x="187" y="80"/>
                    </a:lnTo>
                    <a:lnTo>
                      <a:pt x="193" y="83"/>
                    </a:lnTo>
                    <a:lnTo>
                      <a:pt x="201" y="87"/>
                    </a:lnTo>
                    <a:lnTo>
                      <a:pt x="211" y="90"/>
                    </a:lnTo>
                    <a:lnTo>
                      <a:pt x="221" y="92"/>
                    </a:lnTo>
                    <a:lnTo>
                      <a:pt x="234" y="92"/>
                    </a:lnTo>
                    <a:lnTo>
                      <a:pt x="246" y="95"/>
                    </a:lnTo>
                    <a:lnTo>
                      <a:pt x="254" y="102"/>
                    </a:lnTo>
                    <a:lnTo>
                      <a:pt x="262" y="111"/>
                    </a:lnTo>
                    <a:lnTo>
                      <a:pt x="273" y="120"/>
                    </a:lnTo>
                    <a:lnTo>
                      <a:pt x="283" y="123"/>
                    </a:lnTo>
                    <a:lnTo>
                      <a:pt x="293" y="127"/>
                    </a:lnTo>
                    <a:lnTo>
                      <a:pt x="307" y="130"/>
                    </a:lnTo>
                    <a:lnTo>
                      <a:pt x="320" y="134"/>
                    </a:lnTo>
                    <a:lnTo>
                      <a:pt x="332" y="137"/>
                    </a:lnTo>
                    <a:lnTo>
                      <a:pt x="344" y="139"/>
                    </a:lnTo>
                    <a:lnTo>
                      <a:pt x="352" y="142"/>
                    </a:lnTo>
                    <a:lnTo>
                      <a:pt x="358" y="144"/>
                    </a:lnTo>
                    <a:lnTo>
                      <a:pt x="362" y="146"/>
                    </a:lnTo>
                    <a:lnTo>
                      <a:pt x="367" y="149"/>
                    </a:lnTo>
                    <a:lnTo>
                      <a:pt x="375" y="153"/>
                    </a:lnTo>
                    <a:lnTo>
                      <a:pt x="383" y="156"/>
                    </a:lnTo>
                    <a:lnTo>
                      <a:pt x="391" y="162"/>
                    </a:lnTo>
                    <a:lnTo>
                      <a:pt x="401" y="165"/>
                    </a:lnTo>
                    <a:lnTo>
                      <a:pt x="410" y="170"/>
                    </a:lnTo>
                    <a:lnTo>
                      <a:pt x="418" y="174"/>
                    </a:lnTo>
                    <a:lnTo>
                      <a:pt x="432" y="179"/>
                    </a:lnTo>
                    <a:lnTo>
                      <a:pt x="444" y="177"/>
                    </a:lnTo>
                    <a:lnTo>
                      <a:pt x="455" y="175"/>
                    </a:lnTo>
                    <a:lnTo>
                      <a:pt x="471" y="174"/>
                    </a:lnTo>
                    <a:lnTo>
                      <a:pt x="481" y="174"/>
                    </a:lnTo>
                    <a:lnTo>
                      <a:pt x="491" y="174"/>
                    </a:lnTo>
                    <a:lnTo>
                      <a:pt x="499" y="174"/>
                    </a:lnTo>
                    <a:lnTo>
                      <a:pt x="506" y="174"/>
                    </a:lnTo>
                    <a:lnTo>
                      <a:pt x="514" y="175"/>
                    </a:lnTo>
                    <a:lnTo>
                      <a:pt x="522" y="177"/>
                    </a:lnTo>
                    <a:lnTo>
                      <a:pt x="528" y="181"/>
                    </a:lnTo>
                    <a:lnTo>
                      <a:pt x="536" y="184"/>
                    </a:lnTo>
                    <a:lnTo>
                      <a:pt x="544" y="191"/>
                    </a:lnTo>
                    <a:lnTo>
                      <a:pt x="545" y="200"/>
                    </a:lnTo>
                    <a:lnTo>
                      <a:pt x="549" y="209"/>
                    </a:lnTo>
                    <a:lnTo>
                      <a:pt x="571" y="226"/>
                    </a:lnTo>
                    <a:lnTo>
                      <a:pt x="587" y="236"/>
                    </a:lnTo>
                    <a:lnTo>
                      <a:pt x="598" y="243"/>
                    </a:lnTo>
                    <a:lnTo>
                      <a:pt x="610" y="250"/>
                    </a:lnTo>
                    <a:lnTo>
                      <a:pt x="618" y="256"/>
                    </a:lnTo>
                    <a:lnTo>
                      <a:pt x="624" y="259"/>
                    </a:lnTo>
                    <a:lnTo>
                      <a:pt x="628" y="261"/>
                    </a:lnTo>
                    <a:lnTo>
                      <a:pt x="632" y="261"/>
                    </a:lnTo>
                    <a:lnTo>
                      <a:pt x="634" y="257"/>
                    </a:lnTo>
                    <a:lnTo>
                      <a:pt x="635" y="252"/>
                    </a:lnTo>
                    <a:lnTo>
                      <a:pt x="635" y="250"/>
                    </a:lnTo>
                    <a:lnTo>
                      <a:pt x="639" y="254"/>
                    </a:lnTo>
                    <a:lnTo>
                      <a:pt x="643" y="266"/>
                    </a:lnTo>
                    <a:lnTo>
                      <a:pt x="651" y="278"/>
                    </a:lnTo>
                    <a:lnTo>
                      <a:pt x="661" y="289"/>
                    </a:lnTo>
                    <a:lnTo>
                      <a:pt x="673" y="294"/>
                    </a:lnTo>
                    <a:lnTo>
                      <a:pt x="688" y="297"/>
                    </a:lnTo>
                    <a:lnTo>
                      <a:pt x="698" y="299"/>
                    </a:lnTo>
                    <a:lnTo>
                      <a:pt x="710" y="301"/>
                    </a:lnTo>
                    <a:lnTo>
                      <a:pt x="722" y="304"/>
                    </a:lnTo>
                    <a:lnTo>
                      <a:pt x="733" y="306"/>
                    </a:lnTo>
                    <a:lnTo>
                      <a:pt x="743" y="311"/>
                    </a:lnTo>
                    <a:lnTo>
                      <a:pt x="751" y="316"/>
                    </a:lnTo>
                    <a:lnTo>
                      <a:pt x="755" y="323"/>
                    </a:lnTo>
                    <a:lnTo>
                      <a:pt x="755" y="332"/>
                    </a:lnTo>
                    <a:lnTo>
                      <a:pt x="753" y="346"/>
                    </a:lnTo>
                    <a:lnTo>
                      <a:pt x="761" y="353"/>
                    </a:lnTo>
                    <a:lnTo>
                      <a:pt x="774" y="358"/>
                    </a:lnTo>
                    <a:lnTo>
                      <a:pt x="794" y="367"/>
                    </a:lnTo>
                    <a:lnTo>
                      <a:pt x="804" y="374"/>
                    </a:lnTo>
                    <a:lnTo>
                      <a:pt x="816" y="379"/>
                    </a:lnTo>
                    <a:lnTo>
                      <a:pt x="825" y="386"/>
                    </a:lnTo>
                    <a:lnTo>
                      <a:pt x="835" y="393"/>
                    </a:lnTo>
                    <a:lnTo>
                      <a:pt x="845" y="400"/>
                    </a:lnTo>
                    <a:lnTo>
                      <a:pt x="853" y="405"/>
                    </a:lnTo>
                    <a:lnTo>
                      <a:pt x="859" y="410"/>
                    </a:lnTo>
                    <a:lnTo>
                      <a:pt x="864" y="414"/>
                    </a:lnTo>
                    <a:lnTo>
                      <a:pt x="872" y="417"/>
                    </a:lnTo>
                    <a:lnTo>
                      <a:pt x="884" y="419"/>
                    </a:lnTo>
                    <a:lnTo>
                      <a:pt x="894" y="423"/>
                    </a:lnTo>
                    <a:lnTo>
                      <a:pt x="902" y="430"/>
                    </a:lnTo>
                    <a:lnTo>
                      <a:pt x="911" y="437"/>
                    </a:lnTo>
                    <a:lnTo>
                      <a:pt x="921" y="445"/>
                    </a:lnTo>
                    <a:lnTo>
                      <a:pt x="931" y="452"/>
                    </a:lnTo>
                    <a:lnTo>
                      <a:pt x="939" y="454"/>
                    </a:lnTo>
                    <a:lnTo>
                      <a:pt x="941" y="454"/>
                    </a:lnTo>
                    <a:lnTo>
                      <a:pt x="943" y="452"/>
                    </a:lnTo>
                    <a:lnTo>
                      <a:pt x="945" y="451"/>
                    </a:lnTo>
                    <a:lnTo>
                      <a:pt x="945" y="449"/>
                    </a:lnTo>
                    <a:lnTo>
                      <a:pt x="945" y="437"/>
                    </a:lnTo>
                    <a:lnTo>
                      <a:pt x="943" y="423"/>
                    </a:lnTo>
                    <a:lnTo>
                      <a:pt x="939" y="412"/>
                    </a:lnTo>
                    <a:lnTo>
                      <a:pt x="933" y="402"/>
                    </a:lnTo>
                    <a:lnTo>
                      <a:pt x="929" y="388"/>
                    </a:lnTo>
                    <a:lnTo>
                      <a:pt x="927" y="365"/>
                    </a:lnTo>
                    <a:lnTo>
                      <a:pt x="925" y="344"/>
                    </a:lnTo>
                    <a:lnTo>
                      <a:pt x="919" y="330"/>
                    </a:lnTo>
                    <a:lnTo>
                      <a:pt x="913" y="325"/>
                    </a:lnTo>
                    <a:lnTo>
                      <a:pt x="906" y="316"/>
                    </a:lnTo>
                    <a:lnTo>
                      <a:pt x="896" y="308"/>
                    </a:lnTo>
                    <a:lnTo>
                      <a:pt x="886" y="299"/>
                    </a:lnTo>
                    <a:lnTo>
                      <a:pt x="876" y="292"/>
                    </a:lnTo>
                    <a:lnTo>
                      <a:pt x="866" y="285"/>
                    </a:lnTo>
                    <a:lnTo>
                      <a:pt x="857" y="280"/>
                    </a:lnTo>
                    <a:lnTo>
                      <a:pt x="849" y="278"/>
                    </a:lnTo>
                    <a:lnTo>
                      <a:pt x="843" y="278"/>
                    </a:lnTo>
                    <a:lnTo>
                      <a:pt x="835" y="280"/>
                    </a:lnTo>
                    <a:lnTo>
                      <a:pt x="825" y="282"/>
                    </a:lnTo>
                    <a:lnTo>
                      <a:pt x="817" y="282"/>
                    </a:lnTo>
                    <a:lnTo>
                      <a:pt x="808" y="282"/>
                    </a:lnTo>
                    <a:lnTo>
                      <a:pt x="800" y="282"/>
                    </a:lnTo>
                    <a:lnTo>
                      <a:pt x="792" y="278"/>
                    </a:lnTo>
                    <a:lnTo>
                      <a:pt x="786" y="273"/>
                    </a:lnTo>
                    <a:lnTo>
                      <a:pt x="780" y="266"/>
                    </a:lnTo>
                    <a:lnTo>
                      <a:pt x="771" y="259"/>
                    </a:lnTo>
                    <a:lnTo>
                      <a:pt x="761" y="252"/>
                    </a:lnTo>
                    <a:lnTo>
                      <a:pt x="751" y="245"/>
                    </a:lnTo>
                    <a:lnTo>
                      <a:pt x="739" y="238"/>
                    </a:lnTo>
                    <a:lnTo>
                      <a:pt x="729" y="233"/>
                    </a:lnTo>
                    <a:lnTo>
                      <a:pt x="722" y="228"/>
                    </a:lnTo>
                    <a:lnTo>
                      <a:pt x="714" y="224"/>
                    </a:lnTo>
                    <a:lnTo>
                      <a:pt x="702" y="214"/>
                    </a:lnTo>
                    <a:lnTo>
                      <a:pt x="694" y="202"/>
                    </a:lnTo>
                    <a:lnTo>
                      <a:pt x="686" y="191"/>
                    </a:lnTo>
                    <a:lnTo>
                      <a:pt x="673" y="186"/>
                    </a:lnTo>
                    <a:lnTo>
                      <a:pt x="663" y="186"/>
                    </a:lnTo>
                    <a:lnTo>
                      <a:pt x="655" y="186"/>
                    </a:lnTo>
                    <a:lnTo>
                      <a:pt x="645" y="186"/>
                    </a:lnTo>
                    <a:lnTo>
                      <a:pt x="635" y="184"/>
                    </a:lnTo>
                    <a:lnTo>
                      <a:pt x="628" y="184"/>
                    </a:lnTo>
                    <a:lnTo>
                      <a:pt x="620" y="184"/>
                    </a:lnTo>
                    <a:lnTo>
                      <a:pt x="614" y="184"/>
                    </a:lnTo>
                    <a:lnTo>
                      <a:pt x="608" y="184"/>
                    </a:lnTo>
                    <a:lnTo>
                      <a:pt x="598" y="179"/>
                    </a:lnTo>
                    <a:lnTo>
                      <a:pt x="589" y="167"/>
                    </a:lnTo>
                    <a:lnTo>
                      <a:pt x="577" y="153"/>
                    </a:lnTo>
                    <a:lnTo>
                      <a:pt x="561" y="139"/>
                    </a:lnTo>
                    <a:lnTo>
                      <a:pt x="545" y="130"/>
                    </a:lnTo>
                    <a:lnTo>
                      <a:pt x="540" y="127"/>
                    </a:lnTo>
                    <a:lnTo>
                      <a:pt x="536" y="125"/>
                    </a:lnTo>
                    <a:lnTo>
                      <a:pt x="536" y="118"/>
                    </a:lnTo>
                    <a:lnTo>
                      <a:pt x="534" y="104"/>
                    </a:lnTo>
                    <a:lnTo>
                      <a:pt x="528" y="90"/>
                    </a:lnTo>
                    <a:lnTo>
                      <a:pt x="514" y="80"/>
                    </a:lnTo>
                    <a:lnTo>
                      <a:pt x="504" y="78"/>
                    </a:lnTo>
                    <a:lnTo>
                      <a:pt x="497" y="76"/>
                    </a:lnTo>
                    <a:lnTo>
                      <a:pt x="487" y="74"/>
                    </a:lnTo>
                    <a:lnTo>
                      <a:pt x="479" y="73"/>
                    </a:lnTo>
                    <a:lnTo>
                      <a:pt x="471" y="73"/>
                    </a:lnTo>
                    <a:lnTo>
                      <a:pt x="461" y="73"/>
                    </a:lnTo>
                    <a:lnTo>
                      <a:pt x="453" y="73"/>
                    </a:lnTo>
                    <a:lnTo>
                      <a:pt x="444" y="73"/>
                    </a:lnTo>
                    <a:lnTo>
                      <a:pt x="428" y="76"/>
                    </a:lnTo>
                    <a:lnTo>
                      <a:pt x="414" y="85"/>
                    </a:lnTo>
                    <a:lnTo>
                      <a:pt x="403" y="92"/>
                    </a:lnTo>
                    <a:lnTo>
                      <a:pt x="389" y="95"/>
                    </a:lnTo>
                    <a:lnTo>
                      <a:pt x="375" y="90"/>
                    </a:lnTo>
                    <a:lnTo>
                      <a:pt x="371" y="81"/>
                    </a:lnTo>
                    <a:lnTo>
                      <a:pt x="369" y="73"/>
                    </a:lnTo>
                    <a:lnTo>
                      <a:pt x="369" y="69"/>
                    </a:lnTo>
                    <a:lnTo>
                      <a:pt x="363" y="69"/>
                    </a:lnTo>
                    <a:lnTo>
                      <a:pt x="354" y="73"/>
                    </a:lnTo>
                    <a:lnTo>
                      <a:pt x="342" y="76"/>
                    </a:lnTo>
                    <a:lnTo>
                      <a:pt x="336" y="83"/>
                    </a:lnTo>
                    <a:lnTo>
                      <a:pt x="328" y="88"/>
                    </a:lnTo>
                    <a:lnTo>
                      <a:pt x="315" y="92"/>
                    </a:lnTo>
                    <a:lnTo>
                      <a:pt x="297" y="90"/>
                    </a:lnTo>
                    <a:lnTo>
                      <a:pt x="285" y="85"/>
                    </a:lnTo>
                    <a:lnTo>
                      <a:pt x="277" y="74"/>
                    </a:lnTo>
                    <a:lnTo>
                      <a:pt x="268" y="64"/>
                    </a:lnTo>
                    <a:lnTo>
                      <a:pt x="256" y="54"/>
                    </a:lnTo>
                    <a:lnTo>
                      <a:pt x="240" y="48"/>
                    </a:lnTo>
                    <a:lnTo>
                      <a:pt x="230" y="47"/>
                    </a:lnTo>
                    <a:lnTo>
                      <a:pt x="217" y="43"/>
                    </a:lnTo>
                    <a:lnTo>
                      <a:pt x="201" y="38"/>
                    </a:lnTo>
                    <a:lnTo>
                      <a:pt x="183" y="31"/>
                    </a:lnTo>
                    <a:lnTo>
                      <a:pt x="164" y="26"/>
                    </a:lnTo>
                    <a:lnTo>
                      <a:pt x="144" y="21"/>
                    </a:lnTo>
                    <a:lnTo>
                      <a:pt x="127" y="15"/>
                    </a:lnTo>
                    <a:lnTo>
                      <a:pt x="109" y="10"/>
                    </a:lnTo>
                    <a:lnTo>
                      <a:pt x="86" y="5"/>
                    </a:lnTo>
                    <a:lnTo>
                      <a:pt x="74" y="3"/>
                    </a:lnTo>
                    <a:lnTo>
                      <a:pt x="68" y="1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5E4700"/>
                  </a:gs>
                  <a:gs pos="100000">
                    <a:srgbClr val="CC9900"/>
                  </a:gs>
                </a:gsLst>
                <a:lin ang="5400000" scaled="1"/>
              </a:gra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65" name="Freeform 24"/>
              <p:cNvSpPr>
                <a:spLocks/>
              </p:cNvSpPr>
              <p:nvPr/>
            </p:nvSpPr>
            <p:spPr bwMode="auto">
              <a:xfrm>
                <a:off x="4532" y="4133"/>
                <a:ext cx="176" cy="48"/>
              </a:xfrm>
              <a:custGeom>
                <a:avLst/>
                <a:gdLst>
                  <a:gd name="T0" fmla="*/ 1 w 254"/>
                  <a:gd name="T1" fmla="*/ 1 h 80"/>
                  <a:gd name="T2" fmla="*/ 1 w 254"/>
                  <a:gd name="T3" fmla="*/ 1 h 80"/>
                  <a:gd name="T4" fmla="*/ 1 w 254"/>
                  <a:gd name="T5" fmla="*/ 1 h 80"/>
                  <a:gd name="T6" fmla="*/ 1 w 254"/>
                  <a:gd name="T7" fmla="*/ 1 h 80"/>
                  <a:gd name="T8" fmla="*/ 1 w 254"/>
                  <a:gd name="T9" fmla="*/ 1 h 80"/>
                  <a:gd name="T10" fmla="*/ 1 w 254"/>
                  <a:gd name="T11" fmla="*/ 1 h 80"/>
                  <a:gd name="T12" fmla="*/ 1 w 254"/>
                  <a:gd name="T13" fmla="*/ 1 h 80"/>
                  <a:gd name="T14" fmla="*/ 1 w 254"/>
                  <a:gd name="T15" fmla="*/ 1 h 80"/>
                  <a:gd name="T16" fmla="*/ 1 w 254"/>
                  <a:gd name="T17" fmla="*/ 1 h 80"/>
                  <a:gd name="T18" fmla="*/ 1 w 254"/>
                  <a:gd name="T19" fmla="*/ 1 h 80"/>
                  <a:gd name="T20" fmla="*/ 1 w 254"/>
                  <a:gd name="T21" fmla="*/ 1 h 80"/>
                  <a:gd name="T22" fmla="*/ 1 w 254"/>
                  <a:gd name="T23" fmla="*/ 1 h 80"/>
                  <a:gd name="T24" fmla="*/ 1 w 254"/>
                  <a:gd name="T25" fmla="*/ 1 h 80"/>
                  <a:gd name="T26" fmla="*/ 1 w 254"/>
                  <a:gd name="T27" fmla="*/ 1 h 80"/>
                  <a:gd name="T28" fmla="*/ 1 w 254"/>
                  <a:gd name="T29" fmla="*/ 1 h 80"/>
                  <a:gd name="T30" fmla="*/ 1 w 254"/>
                  <a:gd name="T31" fmla="*/ 1 h 80"/>
                  <a:gd name="T32" fmla="*/ 1 w 254"/>
                  <a:gd name="T33" fmla="*/ 1 h 80"/>
                  <a:gd name="T34" fmla="*/ 1 w 254"/>
                  <a:gd name="T35" fmla="*/ 1 h 80"/>
                  <a:gd name="T36" fmla="*/ 1 w 254"/>
                  <a:gd name="T37" fmla="*/ 1 h 80"/>
                  <a:gd name="T38" fmla="*/ 1 w 254"/>
                  <a:gd name="T39" fmla="*/ 1 h 80"/>
                  <a:gd name="T40" fmla="*/ 1 w 254"/>
                  <a:gd name="T41" fmla="*/ 0 h 80"/>
                  <a:gd name="T42" fmla="*/ 1 w 254"/>
                  <a:gd name="T43" fmla="*/ 0 h 80"/>
                  <a:gd name="T44" fmla="*/ 1 w 254"/>
                  <a:gd name="T45" fmla="*/ 1 h 80"/>
                  <a:gd name="T46" fmla="*/ 0 w 254"/>
                  <a:gd name="T47" fmla="*/ 1 h 80"/>
                  <a:gd name="T48" fmla="*/ 1 w 254"/>
                  <a:gd name="T49" fmla="*/ 1 h 80"/>
                  <a:gd name="T50" fmla="*/ 1 w 254"/>
                  <a:gd name="T51" fmla="*/ 1 h 80"/>
                  <a:gd name="T52" fmla="*/ 1 w 254"/>
                  <a:gd name="T53" fmla="*/ 1 h 80"/>
                  <a:gd name="T54" fmla="*/ 1 w 254"/>
                  <a:gd name="T55" fmla="*/ 1 h 80"/>
                  <a:gd name="T56" fmla="*/ 1 w 254"/>
                  <a:gd name="T57" fmla="*/ 1 h 80"/>
                  <a:gd name="T58" fmla="*/ 1 w 254"/>
                  <a:gd name="T59" fmla="*/ 1 h 80"/>
                  <a:gd name="T60" fmla="*/ 1 w 254"/>
                  <a:gd name="T61" fmla="*/ 1 h 80"/>
                  <a:gd name="T62" fmla="*/ 1 w 254"/>
                  <a:gd name="T63" fmla="*/ 1 h 80"/>
                  <a:gd name="T64" fmla="*/ 1 w 254"/>
                  <a:gd name="T65" fmla="*/ 1 h 80"/>
                  <a:gd name="T66" fmla="*/ 1 w 254"/>
                  <a:gd name="T67" fmla="*/ 1 h 80"/>
                  <a:gd name="T68" fmla="*/ 1 w 254"/>
                  <a:gd name="T69" fmla="*/ 1 h 80"/>
                  <a:gd name="T70" fmla="*/ 1 w 254"/>
                  <a:gd name="T71" fmla="*/ 1 h 80"/>
                  <a:gd name="T72" fmla="*/ 1 w 254"/>
                  <a:gd name="T73" fmla="*/ 1 h 80"/>
                  <a:gd name="T74" fmla="*/ 1 w 254"/>
                  <a:gd name="T75" fmla="*/ 1 h 80"/>
                  <a:gd name="T76" fmla="*/ 1 w 254"/>
                  <a:gd name="T77" fmla="*/ 1 h 80"/>
                  <a:gd name="T78" fmla="*/ 1 w 254"/>
                  <a:gd name="T79" fmla="*/ 1 h 80"/>
                  <a:gd name="T80" fmla="*/ 1 w 254"/>
                  <a:gd name="T81" fmla="*/ 1 h 80"/>
                  <a:gd name="T82" fmla="*/ 1 w 254"/>
                  <a:gd name="T83" fmla="*/ 1 h 80"/>
                  <a:gd name="T84" fmla="*/ 1 w 254"/>
                  <a:gd name="T85" fmla="*/ 1 h 80"/>
                  <a:gd name="T86" fmla="*/ 1 w 254"/>
                  <a:gd name="T87" fmla="*/ 1 h 80"/>
                  <a:gd name="T88" fmla="*/ 1 w 254"/>
                  <a:gd name="T89" fmla="*/ 1 h 80"/>
                  <a:gd name="T90" fmla="*/ 1 w 254"/>
                  <a:gd name="T91" fmla="*/ 1 h 80"/>
                  <a:gd name="T92" fmla="*/ 1 w 254"/>
                  <a:gd name="T93" fmla="*/ 1 h 80"/>
                  <a:gd name="T94" fmla="*/ 1 w 254"/>
                  <a:gd name="T95" fmla="*/ 1 h 80"/>
                  <a:gd name="T96" fmla="*/ 1 w 254"/>
                  <a:gd name="T97" fmla="*/ 1 h 8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254"/>
                  <a:gd name="T148" fmla="*/ 0 h 80"/>
                  <a:gd name="T149" fmla="*/ 254 w 254"/>
                  <a:gd name="T150" fmla="*/ 80 h 8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254" h="80">
                    <a:moveTo>
                      <a:pt x="254" y="77"/>
                    </a:moveTo>
                    <a:lnTo>
                      <a:pt x="254" y="73"/>
                    </a:lnTo>
                    <a:lnTo>
                      <a:pt x="249" y="65"/>
                    </a:lnTo>
                    <a:lnTo>
                      <a:pt x="233" y="54"/>
                    </a:lnTo>
                    <a:lnTo>
                      <a:pt x="204" y="44"/>
                    </a:lnTo>
                    <a:lnTo>
                      <a:pt x="188" y="40"/>
                    </a:lnTo>
                    <a:lnTo>
                      <a:pt x="174" y="37"/>
                    </a:lnTo>
                    <a:lnTo>
                      <a:pt x="162" y="33"/>
                    </a:lnTo>
                    <a:lnTo>
                      <a:pt x="153" y="32"/>
                    </a:lnTo>
                    <a:lnTo>
                      <a:pt x="145" y="30"/>
                    </a:lnTo>
                    <a:lnTo>
                      <a:pt x="139" y="28"/>
                    </a:lnTo>
                    <a:lnTo>
                      <a:pt x="133" y="26"/>
                    </a:lnTo>
                    <a:lnTo>
                      <a:pt x="125" y="25"/>
                    </a:lnTo>
                    <a:lnTo>
                      <a:pt x="112" y="19"/>
                    </a:lnTo>
                    <a:lnTo>
                      <a:pt x="102" y="14"/>
                    </a:lnTo>
                    <a:lnTo>
                      <a:pt x="90" y="11"/>
                    </a:lnTo>
                    <a:lnTo>
                      <a:pt x="78" y="9"/>
                    </a:lnTo>
                    <a:lnTo>
                      <a:pt x="69" y="7"/>
                    </a:lnTo>
                    <a:lnTo>
                      <a:pt x="61" y="5"/>
                    </a:lnTo>
                    <a:lnTo>
                      <a:pt x="51" y="4"/>
                    </a:lnTo>
                    <a:lnTo>
                      <a:pt x="33" y="0"/>
                    </a:lnTo>
                    <a:lnTo>
                      <a:pt x="14" y="0"/>
                    </a:lnTo>
                    <a:lnTo>
                      <a:pt x="2" y="4"/>
                    </a:lnTo>
                    <a:lnTo>
                      <a:pt x="0" y="11"/>
                    </a:lnTo>
                    <a:lnTo>
                      <a:pt x="14" y="19"/>
                    </a:lnTo>
                    <a:lnTo>
                      <a:pt x="31" y="26"/>
                    </a:lnTo>
                    <a:lnTo>
                      <a:pt x="41" y="32"/>
                    </a:lnTo>
                    <a:lnTo>
                      <a:pt x="47" y="35"/>
                    </a:lnTo>
                    <a:lnTo>
                      <a:pt x="59" y="37"/>
                    </a:lnTo>
                    <a:lnTo>
                      <a:pt x="72" y="35"/>
                    </a:lnTo>
                    <a:lnTo>
                      <a:pt x="84" y="35"/>
                    </a:lnTo>
                    <a:lnTo>
                      <a:pt x="96" y="37"/>
                    </a:lnTo>
                    <a:lnTo>
                      <a:pt x="106" y="42"/>
                    </a:lnTo>
                    <a:lnTo>
                      <a:pt x="114" y="49"/>
                    </a:lnTo>
                    <a:lnTo>
                      <a:pt x="121" y="52"/>
                    </a:lnTo>
                    <a:lnTo>
                      <a:pt x="129" y="54"/>
                    </a:lnTo>
                    <a:lnTo>
                      <a:pt x="145" y="54"/>
                    </a:lnTo>
                    <a:lnTo>
                      <a:pt x="153" y="54"/>
                    </a:lnTo>
                    <a:lnTo>
                      <a:pt x="161" y="54"/>
                    </a:lnTo>
                    <a:lnTo>
                      <a:pt x="168" y="54"/>
                    </a:lnTo>
                    <a:lnTo>
                      <a:pt x="174" y="56"/>
                    </a:lnTo>
                    <a:lnTo>
                      <a:pt x="180" y="58"/>
                    </a:lnTo>
                    <a:lnTo>
                      <a:pt x="186" y="59"/>
                    </a:lnTo>
                    <a:lnTo>
                      <a:pt x="194" y="63"/>
                    </a:lnTo>
                    <a:lnTo>
                      <a:pt x="204" y="66"/>
                    </a:lnTo>
                    <a:lnTo>
                      <a:pt x="221" y="73"/>
                    </a:lnTo>
                    <a:lnTo>
                      <a:pt x="235" y="79"/>
                    </a:lnTo>
                    <a:lnTo>
                      <a:pt x="247" y="80"/>
                    </a:lnTo>
                    <a:lnTo>
                      <a:pt x="254" y="7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66" name="Freeform 25"/>
              <p:cNvSpPr>
                <a:spLocks/>
              </p:cNvSpPr>
              <p:nvPr/>
            </p:nvSpPr>
            <p:spPr bwMode="auto">
              <a:xfrm>
                <a:off x="4744" y="4152"/>
                <a:ext cx="35" cy="22"/>
              </a:xfrm>
              <a:custGeom>
                <a:avLst/>
                <a:gdLst>
                  <a:gd name="T0" fmla="*/ 1 w 49"/>
                  <a:gd name="T1" fmla="*/ 1 h 37"/>
                  <a:gd name="T2" fmla="*/ 1 w 49"/>
                  <a:gd name="T3" fmla="*/ 1 h 37"/>
                  <a:gd name="T4" fmla="*/ 1 w 49"/>
                  <a:gd name="T5" fmla="*/ 1 h 37"/>
                  <a:gd name="T6" fmla="*/ 1 w 49"/>
                  <a:gd name="T7" fmla="*/ 1 h 37"/>
                  <a:gd name="T8" fmla="*/ 1 w 49"/>
                  <a:gd name="T9" fmla="*/ 1 h 37"/>
                  <a:gd name="T10" fmla="*/ 1 w 49"/>
                  <a:gd name="T11" fmla="*/ 1 h 37"/>
                  <a:gd name="T12" fmla="*/ 1 w 49"/>
                  <a:gd name="T13" fmla="*/ 0 h 37"/>
                  <a:gd name="T14" fmla="*/ 1 w 49"/>
                  <a:gd name="T15" fmla="*/ 1 h 37"/>
                  <a:gd name="T16" fmla="*/ 0 w 49"/>
                  <a:gd name="T17" fmla="*/ 1 h 37"/>
                  <a:gd name="T18" fmla="*/ 0 w 49"/>
                  <a:gd name="T19" fmla="*/ 1 h 37"/>
                  <a:gd name="T20" fmla="*/ 1 w 49"/>
                  <a:gd name="T21" fmla="*/ 1 h 37"/>
                  <a:gd name="T22" fmla="*/ 1 w 49"/>
                  <a:gd name="T23" fmla="*/ 1 h 37"/>
                  <a:gd name="T24" fmla="*/ 1 w 49"/>
                  <a:gd name="T25" fmla="*/ 1 h 37"/>
                  <a:gd name="T26" fmla="*/ 1 w 49"/>
                  <a:gd name="T27" fmla="*/ 1 h 37"/>
                  <a:gd name="T28" fmla="*/ 1 w 49"/>
                  <a:gd name="T29" fmla="*/ 1 h 37"/>
                  <a:gd name="T30" fmla="*/ 1 w 49"/>
                  <a:gd name="T31" fmla="*/ 1 h 37"/>
                  <a:gd name="T32" fmla="*/ 1 w 49"/>
                  <a:gd name="T33" fmla="*/ 1 h 3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9"/>
                  <a:gd name="T52" fmla="*/ 0 h 37"/>
                  <a:gd name="T53" fmla="*/ 49 w 49"/>
                  <a:gd name="T54" fmla="*/ 37 h 37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9" h="37">
                    <a:moveTo>
                      <a:pt x="49" y="33"/>
                    </a:moveTo>
                    <a:lnTo>
                      <a:pt x="47" y="30"/>
                    </a:lnTo>
                    <a:lnTo>
                      <a:pt x="41" y="21"/>
                    </a:lnTo>
                    <a:lnTo>
                      <a:pt x="34" y="12"/>
                    </a:lnTo>
                    <a:lnTo>
                      <a:pt x="28" y="5"/>
                    </a:lnTo>
                    <a:lnTo>
                      <a:pt x="22" y="2"/>
                    </a:lnTo>
                    <a:lnTo>
                      <a:pt x="14" y="0"/>
                    </a:lnTo>
                    <a:lnTo>
                      <a:pt x="6" y="2"/>
                    </a:lnTo>
                    <a:lnTo>
                      <a:pt x="0" y="5"/>
                    </a:lnTo>
                    <a:lnTo>
                      <a:pt x="0" y="12"/>
                    </a:lnTo>
                    <a:lnTo>
                      <a:pt x="6" y="18"/>
                    </a:lnTo>
                    <a:lnTo>
                      <a:pt x="12" y="21"/>
                    </a:lnTo>
                    <a:lnTo>
                      <a:pt x="16" y="23"/>
                    </a:lnTo>
                    <a:lnTo>
                      <a:pt x="20" y="26"/>
                    </a:lnTo>
                    <a:lnTo>
                      <a:pt x="30" y="32"/>
                    </a:lnTo>
                    <a:lnTo>
                      <a:pt x="41" y="37"/>
                    </a:lnTo>
                    <a:lnTo>
                      <a:pt x="49" y="3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67" name="Freeform 26"/>
              <p:cNvSpPr>
                <a:spLocks/>
              </p:cNvSpPr>
              <p:nvPr/>
            </p:nvSpPr>
            <p:spPr bwMode="auto">
              <a:xfrm>
                <a:off x="4466" y="3881"/>
                <a:ext cx="3" cy="5"/>
              </a:xfrm>
              <a:custGeom>
                <a:avLst/>
                <a:gdLst>
                  <a:gd name="T0" fmla="*/ 0 w 6"/>
                  <a:gd name="T1" fmla="*/ 0 h 9"/>
                  <a:gd name="T2" fmla="*/ 0 w 6"/>
                  <a:gd name="T3" fmla="*/ 1 h 9"/>
                  <a:gd name="T4" fmla="*/ 1 w 6"/>
                  <a:gd name="T5" fmla="*/ 1 h 9"/>
                  <a:gd name="T6" fmla="*/ 1 w 6"/>
                  <a:gd name="T7" fmla="*/ 1 h 9"/>
                  <a:gd name="T8" fmla="*/ 1 w 6"/>
                  <a:gd name="T9" fmla="*/ 1 h 9"/>
                  <a:gd name="T10" fmla="*/ 1 w 6"/>
                  <a:gd name="T11" fmla="*/ 1 h 9"/>
                  <a:gd name="T12" fmla="*/ 1 w 6"/>
                  <a:gd name="T13" fmla="*/ 1 h 9"/>
                  <a:gd name="T14" fmla="*/ 1 w 6"/>
                  <a:gd name="T15" fmla="*/ 1 h 9"/>
                  <a:gd name="T16" fmla="*/ 0 w 6"/>
                  <a:gd name="T17" fmla="*/ 0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9"/>
                  <a:gd name="T29" fmla="*/ 6 w 6"/>
                  <a:gd name="T30" fmla="*/ 9 h 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9">
                    <a:moveTo>
                      <a:pt x="0" y="0"/>
                    </a:moveTo>
                    <a:lnTo>
                      <a:pt x="0" y="2"/>
                    </a:lnTo>
                    <a:lnTo>
                      <a:pt x="2" y="5"/>
                    </a:lnTo>
                    <a:lnTo>
                      <a:pt x="4" y="7"/>
                    </a:lnTo>
                    <a:lnTo>
                      <a:pt x="6" y="9"/>
                    </a:lnTo>
                    <a:lnTo>
                      <a:pt x="4" y="7"/>
                    </a:lnTo>
                    <a:lnTo>
                      <a:pt x="4" y="3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68" name="Freeform 27"/>
              <p:cNvSpPr>
                <a:spLocks/>
              </p:cNvSpPr>
              <p:nvPr/>
            </p:nvSpPr>
            <p:spPr bwMode="auto">
              <a:xfrm>
                <a:off x="3424" y="2841"/>
                <a:ext cx="151" cy="131"/>
              </a:xfrm>
              <a:custGeom>
                <a:avLst/>
                <a:gdLst>
                  <a:gd name="T0" fmla="*/ 1 w 217"/>
                  <a:gd name="T1" fmla="*/ 1 h 219"/>
                  <a:gd name="T2" fmla="*/ 1 w 217"/>
                  <a:gd name="T3" fmla="*/ 1 h 219"/>
                  <a:gd name="T4" fmla="*/ 1 w 217"/>
                  <a:gd name="T5" fmla="*/ 1 h 219"/>
                  <a:gd name="T6" fmla="*/ 1 w 217"/>
                  <a:gd name="T7" fmla="*/ 0 h 219"/>
                  <a:gd name="T8" fmla="*/ 1 w 217"/>
                  <a:gd name="T9" fmla="*/ 1 h 219"/>
                  <a:gd name="T10" fmla="*/ 1 w 217"/>
                  <a:gd name="T11" fmla="*/ 1 h 219"/>
                  <a:gd name="T12" fmla="*/ 1 w 217"/>
                  <a:gd name="T13" fmla="*/ 1 h 219"/>
                  <a:gd name="T14" fmla="*/ 1 w 217"/>
                  <a:gd name="T15" fmla="*/ 1 h 219"/>
                  <a:gd name="T16" fmla="*/ 1 w 217"/>
                  <a:gd name="T17" fmla="*/ 1 h 219"/>
                  <a:gd name="T18" fmla="*/ 1 w 217"/>
                  <a:gd name="T19" fmla="*/ 1 h 219"/>
                  <a:gd name="T20" fmla="*/ 1 w 217"/>
                  <a:gd name="T21" fmla="*/ 1 h 219"/>
                  <a:gd name="T22" fmla="*/ 0 w 217"/>
                  <a:gd name="T23" fmla="*/ 1 h 219"/>
                  <a:gd name="T24" fmla="*/ 0 w 217"/>
                  <a:gd name="T25" fmla="*/ 1 h 219"/>
                  <a:gd name="T26" fmla="*/ 1 w 217"/>
                  <a:gd name="T27" fmla="*/ 1 h 219"/>
                  <a:gd name="T28" fmla="*/ 1 w 217"/>
                  <a:gd name="T29" fmla="*/ 1 h 219"/>
                  <a:gd name="T30" fmla="*/ 1 w 217"/>
                  <a:gd name="T31" fmla="*/ 1 h 219"/>
                  <a:gd name="T32" fmla="*/ 1 w 217"/>
                  <a:gd name="T33" fmla="*/ 1 h 219"/>
                  <a:gd name="T34" fmla="*/ 1 w 217"/>
                  <a:gd name="T35" fmla="*/ 1 h 219"/>
                  <a:gd name="T36" fmla="*/ 1 w 217"/>
                  <a:gd name="T37" fmla="*/ 1 h 219"/>
                  <a:gd name="T38" fmla="*/ 1 w 217"/>
                  <a:gd name="T39" fmla="*/ 1 h 219"/>
                  <a:gd name="T40" fmla="*/ 1 w 217"/>
                  <a:gd name="T41" fmla="*/ 1 h 219"/>
                  <a:gd name="T42" fmla="*/ 1 w 217"/>
                  <a:gd name="T43" fmla="*/ 1 h 219"/>
                  <a:gd name="T44" fmla="*/ 1 w 217"/>
                  <a:gd name="T45" fmla="*/ 1 h 219"/>
                  <a:gd name="T46" fmla="*/ 1 w 217"/>
                  <a:gd name="T47" fmla="*/ 1 h 219"/>
                  <a:gd name="T48" fmla="*/ 1 w 217"/>
                  <a:gd name="T49" fmla="*/ 1 h 219"/>
                  <a:gd name="T50" fmla="*/ 1 w 217"/>
                  <a:gd name="T51" fmla="*/ 1 h 219"/>
                  <a:gd name="T52" fmla="*/ 1 w 217"/>
                  <a:gd name="T53" fmla="*/ 1 h 219"/>
                  <a:gd name="T54" fmla="*/ 1 w 217"/>
                  <a:gd name="T55" fmla="*/ 1 h 219"/>
                  <a:gd name="T56" fmla="*/ 1 w 217"/>
                  <a:gd name="T57" fmla="*/ 1 h 219"/>
                  <a:gd name="T58" fmla="*/ 1 w 217"/>
                  <a:gd name="T59" fmla="*/ 1 h 219"/>
                  <a:gd name="T60" fmla="*/ 1 w 217"/>
                  <a:gd name="T61" fmla="*/ 1 h 219"/>
                  <a:gd name="T62" fmla="*/ 1 w 217"/>
                  <a:gd name="T63" fmla="*/ 1 h 219"/>
                  <a:gd name="T64" fmla="*/ 1 w 217"/>
                  <a:gd name="T65" fmla="*/ 1 h 219"/>
                  <a:gd name="T66" fmla="*/ 1 w 217"/>
                  <a:gd name="T67" fmla="*/ 1 h 219"/>
                  <a:gd name="T68" fmla="*/ 1 w 217"/>
                  <a:gd name="T69" fmla="*/ 1 h 219"/>
                  <a:gd name="T70" fmla="*/ 1 w 217"/>
                  <a:gd name="T71" fmla="*/ 1 h 219"/>
                  <a:gd name="T72" fmla="*/ 1 w 217"/>
                  <a:gd name="T73" fmla="*/ 1 h 219"/>
                  <a:gd name="T74" fmla="*/ 1 w 217"/>
                  <a:gd name="T75" fmla="*/ 1 h 219"/>
                  <a:gd name="T76" fmla="*/ 1 w 217"/>
                  <a:gd name="T77" fmla="*/ 1 h 219"/>
                  <a:gd name="T78" fmla="*/ 1 w 217"/>
                  <a:gd name="T79" fmla="*/ 1 h 219"/>
                  <a:gd name="T80" fmla="*/ 1 w 217"/>
                  <a:gd name="T81" fmla="*/ 1 h 219"/>
                  <a:gd name="T82" fmla="*/ 1 w 217"/>
                  <a:gd name="T83" fmla="*/ 1 h 219"/>
                  <a:gd name="T84" fmla="*/ 1 w 217"/>
                  <a:gd name="T85" fmla="*/ 1 h 219"/>
                  <a:gd name="T86" fmla="*/ 1 w 217"/>
                  <a:gd name="T87" fmla="*/ 1 h 219"/>
                  <a:gd name="T88" fmla="*/ 1 w 217"/>
                  <a:gd name="T89" fmla="*/ 1 h 219"/>
                  <a:gd name="T90" fmla="*/ 1 w 217"/>
                  <a:gd name="T91" fmla="*/ 1 h 219"/>
                  <a:gd name="T92" fmla="*/ 1 w 217"/>
                  <a:gd name="T93" fmla="*/ 1 h 219"/>
                  <a:gd name="T94" fmla="*/ 1 w 217"/>
                  <a:gd name="T95" fmla="*/ 1 h 219"/>
                  <a:gd name="T96" fmla="*/ 1 w 217"/>
                  <a:gd name="T97" fmla="*/ 1 h 219"/>
                  <a:gd name="T98" fmla="*/ 1 w 217"/>
                  <a:gd name="T99" fmla="*/ 1 h 219"/>
                  <a:gd name="T100" fmla="*/ 1 w 217"/>
                  <a:gd name="T101" fmla="*/ 1 h 219"/>
                  <a:gd name="T102" fmla="*/ 1 w 217"/>
                  <a:gd name="T103" fmla="*/ 1 h 219"/>
                  <a:gd name="T104" fmla="*/ 1 w 217"/>
                  <a:gd name="T105" fmla="*/ 1 h 219"/>
                  <a:gd name="T106" fmla="*/ 1 w 217"/>
                  <a:gd name="T107" fmla="*/ 1 h 219"/>
                  <a:gd name="T108" fmla="*/ 1 w 217"/>
                  <a:gd name="T109" fmla="*/ 1 h 219"/>
                  <a:gd name="T110" fmla="*/ 1 w 217"/>
                  <a:gd name="T111" fmla="*/ 1 h 219"/>
                  <a:gd name="T112" fmla="*/ 1 w 217"/>
                  <a:gd name="T113" fmla="*/ 1 h 21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17"/>
                  <a:gd name="T172" fmla="*/ 0 h 219"/>
                  <a:gd name="T173" fmla="*/ 217 w 217"/>
                  <a:gd name="T174" fmla="*/ 219 h 21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17" h="219">
                    <a:moveTo>
                      <a:pt x="112" y="43"/>
                    </a:moveTo>
                    <a:lnTo>
                      <a:pt x="104" y="33"/>
                    </a:lnTo>
                    <a:lnTo>
                      <a:pt x="86" y="12"/>
                    </a:lnTo>
                    <a:lnTo>
                      <a:pt x="67" y="0"/>
                    </a:lnTo>
                    <a:lnTo>
                      <a:pt x="59" y="15"/>
                    </a:lnTo>
                    <a:lnTo>
                      <a:pt x="57" y="47"/>
                    </a:lnTo>
                    <a:lnTo>
                      <a:pt x="55" y="68"/>
                    </a:lnTo>
                    <a:lnTo>
                      <a:pt x="47" y="76"/>
                    </a:lnTo>
                    <a:lnTo>
                      <a:pt x="37" y="73"/>
                    </a:lnTo>
                    <a:lnTo>
                      <a:pt x="24" y="73"/>
                    </a:lnTo>
                    <a:lnTo>
                      <a:pt x="10" y="89"/>
                    </a:lnTo>
                    <a:lnTo>
                      <a:pt x="0" y="109"/>
                    </a:lnTo>
                    <a:lnTo>
                      <a:pt x="0" y="129"/>
                    </a:lnTo>
                    <a:lnTo>
                      <a:pt x="6" y="136"/>
                    </a:lnTo>
                    <a:lnTo>
                      <a:pt x="12" y="141"/>
                    </a:lnTo>
                    <a:lnTo>
                      <a:pt x="18" y="146"/>
                    </a:lnTo>
                    <a:lnTo>
                      <a:pt x="26" y="151"/>
                    </a:lnTo>
                    <a:lnTo>
                      <a:pt x="33" y="155"/>
                    </a:lnTo>
                    <a:lnTo>
                      <a:pt x="43" y="156"/>
                    </a:lnTo>
                    <a:lnTo>
                      <a:pt x="51" y="158"/>
                    </a:lnTo>
                    <a:lnTo>
                      <a:pt x="59" y="158"/>
                    </a:lnTo>
                    <a:lnTo>
                      <a:pt x="67" y="158"/>
                    </a:lnTo>
                    <a:lnTo>
                      <a:pt x="76" y="158"/>
                    </a:lnTo>
                    <a:lnTo>
                      <a:pt x="86" y="158"/>
                    </a:lnTo>
                    <a:lnTo>
                      <a:pt x="96" y="158"/>
                    </a:lnTo>
                    <a:lnTo>
                      <a:pt x="102" y="160"/>
                    </a:lnTo>
                    <a:lnTo>
                      <a:pt x="108" y="162"/>
                    </a:lnTo>
                    <a:lnTo>
                      <a:pt x="110" y="165"/>
                    </a:lnTo>
                    <a:lnTo>
                      <a:pt x="108" y="172"/>
                    </a:lnTo>
                    <a:lnTo>
                      <a:pt x="106" y="186"/>
                    </a:lnTo>
                    <a:lnTo>
                      <a:pt x="116" y="196"/>
                    </a:lnTo>
                    <a:lnTo>
                      <a:pt x="131" y="205"/>
                    </a:lnTo>
                    <a:lnTo>
                      <a:pt x="145" y="210"/>
                    </a:lnTo>
                    <a:lnTo>
                      <a:pt x="151" y="212"/>
                    </a:lnTo>
                    <a:lnTo>
                      <a:pt x="159" y="214"/>
                    </a:lnTo>
                    <a:lnTo>
                      <a:pt x="167" y="217"/>
                    </a:lnTo>
                    <a:lnTo>
                      <a:pt x="174" y="219"/>
                    </a:lnTo>
                    <a:lnTo>
                      <a:pt x="184" y="219"/>
                    </a:lnTo>
                    <a:lnTo>
                      <a:pt x="192" y="219"/>
                    </a:lnTo>
                    <a:lnTo>
                      <a:pt x="202" y="216"/>
                    </a:lnTo>
                    <a:lnTo>
                      <a:pt x="210" y="210"/>
                    </a:lnTo>
                    <a:lnTo>
                      <a:pt x="217" y="198"/>
                    </a:lnTo>
                    <a:lnTo>
                      <a:pt x="215" y="186"/>
                    </a:lnTo>
                    <a:lnTo>
                      <a:pt x="206" y="174"/>
                    </a:lnTo>
                    <a:lnTo>
                      <a:pt x="192" y="162"/>
                    </a:lnTo>
                    <a:lnTo>
                      <a:pt x="180" y="146"/>
                    </a:lnTo>
                    <a:lnTo>
                      <a:pt x="176" y="130"/>
                    </a:lnTo>
                    <a:lnTo>
                      <a:pt x="168" y="120"/>
                    </a:lnTo>
                    <a:lnTo>
                      <a:pt x="155" y="120"/>
                    </a:lnTo>
                    <a:lnTo>
                      <a:pt x="151" y="116"/>
                    </a:lnTo>
                    <a:lnTo>
                      <a:pt x="143" y="108"/>
                    </a:lnTo>
                    <a:lnTo>
                      <a:pt x="135" y="96"/>
                    </a:lnTo>
                    <a:lnTo>
                      <a:pt x="133" y="82"/>
                    </a:lnTo>
                    <a:lnTo>
                      <a:pt x="137" y="69"/>
                    </a:lnTo>
                    <a:lnTo>
                      <a:pt x="135" y="59"/>
                    </a:lnTo>
                    <a:lnTo>
                      <a:pt x="127" y="50"/>
                    </a:lnTo>
                    <a:lnTo>
                      <a:pt x="112" y="43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69" name="Freeform 28"/>
              <p:cNvSpPr>
                <a:spLocks/>
              </p:cNvSpPr>
              <p:nvPr/>
            </p:nvSpPr>
            <p:spPr bwMode="auto">
              <a:xfrm>
                <a:off x="3350" y="2861"/>
                <a:ext cx="109" cy="278"/>
              </a:xfrm>
              <a:custGeom>
                <a:avLst/>
                <a:gdLst>
                  <a:gd name="T0" fmla="*/ 1 w 155"/>
                  <a:gd name="T1" fmla="*/ 1 h 465"/>
                  <a:gd name="T2" fmla="*/ 1 w 155"/>
                  <a:gd name="T3" fmla="*/ 1 h 465"/>
                  <a:gd name="T4" fmla="*/ 1 w 155"/>
                  <a:gd name="T5" fmla="*/ 0 h 465"/>
                  <a:gd name="T6" fmla="*/ 1 w 155"/>
                  <a:gd name="T7" fmla="*/ 1 h 465"/>
                  <a:gd name="T8" fmla="*/ 0 w 155"/>
                  <a:gd name="T9" fmla="*/ 1 h 465"/>
                  <a:gd name="T10" fmla="*/ 1 w 155"/>
                  <a:gd name="T11" fmla="*/ 1 h 465"/>
                  <a:gd name="T12" fmla="*/ 1 w 155"/>
                  <a:gd name="T13" fmla="*/ 1 h 465"/>
                  <a:gd name="T14" fmla="*/ 1 w 155"/>
                  <a:gd name="T15" fmla="*/ 1 h 465"/>
                  <a:gd name="T16" fmla="*/ 1 w 155"/>
                  <a:gd name="T17" fmla="*/ 1 h 465"/>
                  <a:gd name="T18" fmla="*/ 1 w 155"/>
                  <a:gd name="T19" fmla="*/ 1 h 465"/>
                  <a:gd name="T20" fmla="*/ 1 w 155"/>
                  <a:gd name="T21" fmla="*/ 1 h 465"/>
                  <a:gd name="T22" fmla="*/ 1 w 155"/>
                  <a:gd name="T23" fmla="*/ 1 h 465"/>
                  <a:gd name="T24" fmla="*/ 1 w 155"/>
                  <a:gd name="T25" fmla="*/ 1 h 465"/>
                  <a:gd name="T26" fmla="*/ 1 w 155"/>
                  <a:gd name="T27" fmla="*/ 1 h 465"/>
                  <a:gd name="T28" fmla="*/ 1 w 155"/>
                  <a:gd name="T29" fmla="*/ 1 h 465"/>
                  <a:gd name="T30" fmla="*/ 1 w 155"/>
                  <a:gd name="T31" fmla="*/ 1 h 465"/>
                  <a:gd name="T32" fmla="*/ 1 w 155"/>
                  <a:gd name="T33" fmla="*/ 1 h 465"/>
                  <a:gd name="T34" fmla="*/ 1 w 155"/>
                  <a:gd name="T35" fmla="*/ 1 h 465"/>
                  <a:gd name="T36" fmla="*/ 1 w 155"/>
                  <a:gd name="T37" fmla="*/ 1 h 465"/>
                  <a:gd name="T38" fmla="*/ 1 w 155"/>
                  <a:gd name="T39" fmla="*/ 1 h 465"/>
                  <a:gd name="T40" fmla="*/ 1 w 155"/>
                  <a:gd name="T41" fmla="*/ 1 h 465"/>
                  <a:gd name="T42" fmla="*/ 1 w 155"/>
                  <a:gd name="T43" fmla="*/ 1 h 465"/>
                  <a:gd name="T44" fmla="*/ 1 w 155"/>
                  <a:gd name="T45" fmla="*/ 1 h 465"/>
                  <a:gd name="T46" fmla="*/ 1 w 155"/>
                  <a:gd name="T47" fmla="*/ 1 h 465"/>
                  <a:gd name="T48" fmla="*/ 1 w 155"/>
                  <a:gd name="T49" fmla="*/ 1 h 465"/>
                  <a:gd name="T50" fmla="*/ 1 w 155"/>
                  <a:gd name="T51" fmla="*/ 1 h 465"/>
                  <a:gd name="T52" fmla="*/ 1 w 155"/>
                  <a:gd name="T53" fmla="*/ 1 h 465"/>
                  <a:gd name="T54" fmla="*/ 1 w 155"/>
                  <a:gd name="T55" fmla="*/ 1 h 465"/>
                  <a:gd name="T56" fmla="*/ 1 w 155"/>
                  <a:gd name="T57" fmla="*/ 1 h 465"/>
                  <a:gd name="T58" fmla="*/ 1 w 155"/>
                  <a:gd name="T59" fmla="*/ 1 h 465"/>
                  <a:gd name="T60" fmla="*/ 1 w 155"/>
                  <a:gd name="T61" fmla="*/ 1 h 465"/>
                  <a:gd name="T62" fmla="*/ 1 w 155"/>
                  <a:gd name="T63" fmla="*/ 1 h 465"/>
                  <a:gd name="T64" fmla="*/ 1 w 155"/>
                  <a:gd name="T65" fmla="*/ 1 h 465"/>
                  <a:gd name="T66" fmla="*/ 1 w 155"/>
                  <a:gd name="T67" fmla="*/ 1 h 465"/>
                  <a:gd name="T68" fmla="*/ 1 w 155"/>
                  <a:gd name="T69" fmla="*/ 1 h 465"/>
                  <a:gd name="T70" fmla="*/ 1 w 155"/>
                  <a:gd name="T71" fmla="*/ 1 h 465"/>
                  <a:gd name="T72" fmla="*/ 1 w 155"/>
                  <a:gd name="T73" fmla="*/ 1 h 465"/>
                  <a:gd name="T74" fmla="*/ 1 w 155"/>
                  <a:gd name="T75" fmla="*/ 1 h 465"/>
                  <a:gd name="T76" fmla="*/ 1 w 155"/>
                  <a:gd name="T77" fmla="*/ 1 h 465"/>
                  <a:gd name="T78" fmla="*/ 1 w 155"/>
                  <a:gd name="T79" fmla="*/ 1 h 465"/>
                  <a:gd name="T80" fmla="*/ 1 w 155"/>
                  <a:gd name="T81" fmla="*/ 1 h 465"/>
                  <a:gd name="T82" fmla="*/ 1 w 155"/>
                  <a:gd name="T83" fmla="*/ 1 h 465"/>
                  <a:gd name="T84" fmla="*/ 1 w 155"/>
                  <a:gd name="T85" fmla="*/ 1 h 465"/>
                  <a:gd name="T86" fmla="*/ 1 w 155"/>
                  <a:gd name="T87" fmla="*/ 1 h 465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55"/>
                  <a:gd name="T133" fmla="*/ 0 h 465"/>
                  <a:gd name="T134" fmla="*/ 155 w 155"/>
                  <a:gd name="T135" fmla="*/ 465 h 465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55" h="465">
                    <a:moveTo>
                      <a:pt x="59" y="63"/>
                    </a:moveTo>
                    <a:lnTo>
                      <a:pt x="57" y="61"/>
                    </a:lnTo>
                    <a:lnTo>
                      <a:pt x="55" y="56"/>
                    </a:lnTo>
                    <a:lnTo>
                      <a:pt x="53" y="47"/>
                    </a:lnTo>
                    <a:lnTo>
                      <a:pt x="57" y="36"/>
                    </a:lnTo>
                    <a:lnTo>
                      <a:pt x="61" y="24"/>
                    </a:lnTo>
                    <a:lnTo>
                      <a:pt x="61" y="12"/>
                    </a:lnTo>
                    <a:lnTo>
                      <a:pt x="57" y="5"/>
                    </a:lnTo>
                    <a:lnTo>
                      <a:pt x="47" y="0"/>
                    </a:lnTo>
                    <a:lnTo>
                      <a:pt x="36" y="2"/>
                    </a:lnTo>
                    <a:lnTo>
                      <a:pt x="24" y="10"/>
                    </a:lnTo>
                    <a:lnTo>
                      <a:pt x="16" y="22"/>
                    </a:lnTo>
                    <a:lnTo>
                      <a:pt x="8" y="28"/>
                    </a:lnTo>
                    <a:lnTo>
                      <a:pt x="4" y="31"/>
                    </a:lnTo>
                    <a:lnTo>
                      <a:pt x="0" y="38"/>
                    </a:lnTo>
                    <a:lnTo>
                      <a:pt x="0" y="45"/>
                    </a:lnTo>
                    <a:lnTo>
                      <a:pt x="6" y="52"/>
                    </a:lnTo>
                    <a:lnTo>
                      <a:pt x="14" y="59"/>
                    </a:lnTo>
                    <a:lnTo>
                      <a:pt x="18" y="68"/>
                    </a:lnTo>
                    <a:lnTo>
                      <a:pt x="26" y="78"/>
                    </a:lnTo>
                    <a:lnTo>
                      <a:pt x="36" y="85"/>
                    </a:lnTo>
                    <a:lnTo>
                      <a:pt x="46" y="94"/>
                    </a:lnTo>
                    <a:lnTo>
                      <a:pt x="51" y="103"/>
                    </a:lnTo>
                    <a:lnTo>
                      <a:pt x="53" y="115"/>
                    </a:lnTo>
                    <a:lnTo>
                      <a:pt x="53" y="127"/>
                    </a:lnTo>
                    <a:lnTo>
                      <a:pt x="55" y="136"/>
                    </a:lnTo>
                    <a:lnTo>
                      <a:pt x="59" y="141"/>
                    </a:lnTo>
                    <a:lnTo>
                      <a:pt x="63" y="144"/>
                    </a:lnTo>
                    <a:lnTo>
                      <a:pt x="67" y="150"/>
                    </a:lnTo>
                    <a:lnTo>
                      <a:pt x="69" y="160"/>
                    </a:lnTo>
                    <a:lnTo>
                      <a:pt x="67" y="170"/>
                    </a:lnTo>
                    <a:lnTo>
                      <a:pt x="65" y="183"/>
                    </a:lnTo>
                    <a:lnTo>
                      <a:pt x="65" y="191"/>
                    </a:lnTo>
                    <a:lnTo>
                      <a:pt x="63" y="197"/>
                    </a:lnTo>
                    <a:lnTo>
                      <a:pt x="59" y="198"/>
                    </a:lnTo>
                    <a:lnTo>
                      <a:pt x="51" y="198"/>
                    </a:lnTo>
                    <a:lnTo>
                      <a:pt x="46" y="195"/>
                    </a:lnTo>
                    <a:lnTo>
                      <a:pt x="40" y="188"/>
                    </a:lnTo>
                    <a:lnTo>
                      <a:pt x="32" y="183"/>
                    </a:lnTo>
                    <a:lnTo>
                      <a:pt x="24" y="177"/>
                    </a:lnTo>
                    <a:lnTo>
                      <a:pt x="16" y="176"/>
                    </a:lnTo>
                    <a:lnTo>
                      <a:pt x="8" y="179"/>
                    </a:lnTo>
                    <a:lnTo>
                      <a:pt x="4" y="186"/>
                    </a:lnTo>
                    <a:lnTo>
                      <a:pt x="6" y="198"/>
                    </a:lnTo>
                    <a:lnTo>
                      <a:pt x="16" y="210"/>
                    </a:lnTo>
                    <a:lnTo>
                      <a:pt x="24" y="224"/>
                    </a:lnTo>
                    <a:lnTo>
                      <a:pt x="28" y="238"/>
                    </a:lnTo>
                    <a:lnTo>
                      <a:pt x="28" y="254"/>
                    </a:lnTo>
                    <a:lnTo>
                      <a:pt x="32" y="270"/>
                    </a:lnTo>
                    <a:lnTo>
                      <a:pt x="40" y="280"/>
                    </a:lnTo>
                    <a:lnTo>
                      <a:pt x="46" y="282"/>
                    </a:lnTo>
                    <a:lnTo>
                      <a:pt x="51" y="285"/>
                    </a:lnTo>
                    <a:lnTo>
                      <a:pt x="53" y="296"/>
                    </a:lnTo>
                    <a:lnTo>
                      <a:pt x="53" y="310"/>
                    </a:lnTo>
                    <a:lnTo>
                      <a:pt x="57" y="325"/>
                    </a:lnTo>
                    <a:lnTo>
                      <a:pt x="59" y="339"/>
                    </a:lnTo>
                    <a:lnTo>
                      <a:pt x="59" y="350"/>
                    </a:lnTo>
                    <a:lnTo>
                      <a:pt x="57" y="355"/>
                    </a:lnTo>
                    <a:lnTo>
                      <a:pt x="51" y="355"/>
                    </a:lnTo>
                    <a:lnTo>
                      <a:pt x="44" y="353"/>
                    </a:lnTo>
                    <a:lnTo>
                      <a:pt x="38" y="351"/>
                    </a:lnTo>
                    <a:lnTo>
                      <a:pt x="34" y="353"/>
                    </a:lnTo>
                    <a:lnTo>
                      <a:pt x="30" y="362"/>
                    </a:lnTo>
                    <a:lnTo>
                      <a:pt x="28" y="374"/>
                    </a:lnTo>
                    <a:lnTo>
                      <a:pt x="30" y="390"/>
                    </a:lnTo>
                    <a:lnTo>
                      <a:pt x="36" y="402"/>
                    </a:lnTo>
                    <a:lnTo>
                      <a:pt x="42" y="407"/>
                    </a:lnTo>
                    <a:lnTo>
                      <a:pt x="49" y="414"/>
                    </a:lnTo>
                    <a:lnTo>
                      <a:pt x="51" y="425"/>
                    </a:lnTo>
                    <a:lnTo>
                      <a:pt x="51" y="439"/>
                    </a:lnTo>
                    <a:lnTo>
                      <a:pt x="51" y="451"/>
                    </a:lnTo>
                    <a:lnTo>
                      <a:pt x="51" y="461"/>
                    </a:lnTo>
                    <a:lnTo>
                      <a:pt x="51" y="465"/>
                    </a:lnTo>
                    <a:lnTo>
                      <a:pt x="55" y="465"/>
                    </a:lnTo>
                    <a:lnTo>
                      <a:pt x="63" y="465"/>
                    </a:lnTo>
                    <a:lnTo>
                      <a:pt x="73" y="465"/>
                    </a:lnTo>
                    <a:lnTo>
                      <a:pt x="81" y="465"/>
                    </a:lnTo>
                    <a:lnTo>
                      <a:pt x="85" y="463"/>
                    </a:lnTo>
                    <a:lnTo>
                      <a:pt x="83" y="459"/>
                    </a:lnTo>
                    <a:lnTo>
                      <a:pt x="79" y="452"/>
                    </a:lnTo>
                    <a:lnTo>
                      <a:pt x="75" y="442"/>
                    </a:lnTo>
                    <a:lnTo>
                      <a:pt x="69" y="426"/>
                    </a:lnTo>
                    <a:lnTo>
                      <a:pt x="65" y="409"/>
                    </a:lnTo>
                    <a:lnTo>
                      <a:pt x="63" y="393"/>
                    </a:lnTo>
                    <a:lnTo>
                      <a:pt x="65" y="385"/>
                    </a:lnTo>
                    <a:lnTo>
                      <a:pt x="71" y="381"/>
                    </a:lnTo>
                    <a:lnTo>
                      <a:pt x="77" y="381"/>
                    </a:lnTo>
                    <a:lnTo>
                      <a:pt x="85" y="386"/>
                    </a:lnTo>
                    <a:lnTo>
                      <a:pt x="91" y="395"/>
                    </a:lnTo>
                    <a:lnTo>
                      <a:pt x="94" y="405"/>
                    </a:lnTo>
                    <a:lnTo>
                      <a:pt x="98" y="414"/>
                    </a:lnTo>
                    <a:lnTo>
                      <a:pt x="106" y="419"/>
                    </a:lnTo>
                    <a:lnTo>
                      <a:pt x="122" y="423"/>
                    </a:lnTo>
                    <a:lnTo>
                      <a:pt x="139" y="425"/>
                    </a:lnTo>
                    <a:lnTo>
                      <a:pt x="151" y="425"/>
                    </a:lnTo>
                    <a:lnTo>
                      <a:pt x="155" y="421"/>
                    </a:lnTo>
                    <a:lnTo>
                      <a:pt x="147" y="411"/>
                    </a:lnTo>
                    <a:lnTo>
                      <a:pt x="134" y="393"/>
                    </a:lnTo>
                    <a:lnTo>
                      <a:pt x="122" y="372"/>
                    </a:lnTo>
                    <a:lnTo>
                      <a:pt x="112" y="353"/>
                    </a:lnTo>
                    <a:lnTo>
                      <a:pt x="108" y="336"/>
                    </a:lnTo>
                    <a:lnTo>
                      <a:pt x="108" y="324"/>
                    </a:lnTo>
                    <a:lnTo>
                      <a:pt x="108" y="313"/>
                    </a:lnTo>
                    <a:lnTo>
                      <a:pt x="108" y="304"/>
                    </a:lnTo>
                    <a:lnTo>
                      <a:pt x="108" y="294"/>
                    </a:lnTo>
                    <a:lnTo>
                      <a:pt x="108" y="280"/>
                    </a:lnTo>
                    <a:lnTo>
                      <a:pt x="110" y="266"/>
                    </a:lnTo>
                    <a:lnTo>
                      <a:pt x="110" y="252"/>
                    </a:lnTo>
                    <a:lnTo>
                      <a:pt x="106" y="237"/>
                    </a:lnTo>
                    <a:lnTo>
                      <a:pt x="100" y="223"/>
                    </a:lnTo>
                    <a:lnTo>
                      <a:pt x="98" y="212"/>
                    </a:lnTo>
                    <a:lnTo>
                      <a:pt x="98" y="207"/>
                    </a:lnTo>
                    <a:lnTo>
                      <a:pt x="104" y="204"/>
                    </a:lnTo>
                    <a:lnTo>
                      <a:pt x="108" y="198"/>
                    </a:lnTo>
                    <a:lnTo>
                      <a:pt x="108" y="188"/>
                    </a:lnTo>
                    <a:lnTo>
                      <a:pt x="108" y="177"/>
                    </a:lnTo>
                    <a:lnTo>
                      <a:pt x="108" y="169"/>
                    </a:lnTo>
                    <a:lnTo>
                      <a:pt x="112" y="163"/>
                    </a:lnTo>
                    <a:lnTo>
                      <a:pt x="118" y="162"/>
                    </a:lnTo>
                    <a:lnTo>
                      <a:pt x="120" y="160"/>
                    </a:lnTo>
                    <a:lnTo>
                      <a:pt x="120" y="153"/>
                    </a:lnTo>
                    <a:lnTo>
                      <a:pt x="114" y="146"/>
                    </a:lnTo>
                    <a:lnTo>
                      <a:pt x="104" y="143"/>
                    </a:lnTo>
                    <a:lnTo>
                      <a:pt x="92" y="137"/>
                    </a:lnTo>
                    <a:lnTo>
                      <a:pt x="83" y="130"/>
                    </a:lnTo>
                    <a:lnTo>
                      <a:pt x="77" y="118"/>
                    </a:lnTo>
                    <a:lnTo>
                      <a:pt x="71" y="104"/>
                    </a:lnTo>
                    <a:lnTo>
                      <a:pt x="67" y="90"/>
                    </a:lnTo>
                    <a:lnTo>
                      <a:pt x="65" y="80"/>
                    </a:lnTo>
                    <a:lnTo>
                      <a:pt x="65" y="71"/>
                    </a:lnTo>
                    <a:lnTo>
                      <a:pt x="63" y="66"/>
                    </a:lnTo>
                    <a:lnTo>
                      <a:pt x="59" y="64"/>
                    </a:lnTo>
                    <a:lnTo>
                      <a:pt x="59" y="63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70" name="Freeform 29"/>
              <p:cNvSpPr>
                <a:spLocks/>
              </p:cNvSpPr>
              <p:nvPr/>
            </p:nvSpPr>
            <p:spPr bwMode="auto">
              <a:xfrm>
                <a:off x="3511" y="3003"/>
                <a:ext cx="81" cy="82"/>
              </a:xfrm>
              <a:custGeom>
                <a:avLst/>
                <a:gdLst>
                  <a:gd name="T0" fmla="*/ 1 w 118"/>
                  <a:gd name="T1" fmla="*/ 1 h 136"/>
                  <a:gd name="T2" fmla="*/ 1 w 118"/>
                  <a:gd name="T3" fmla="*/ 1 h 136"/>
                  <a:gd name="T4" fmla="*/ 1 w 118"/>
                  <a:gd name="T5" fmla="*/ 1 h 136"/>
                  <a:gd name="T6" fmla="*/ 1 w 118"/>
                  <a:gd name="T7" fmla="*/ 1 h 136"/>
                  <a:gd name="T8" fmla="*/ 1 w 118"/>
                  <a:gd name="T9" fmla="*/ 1 h 136"/>
                  <a:gd name="T10" fmla="*/ 1 w 118"/>
                  <a:gd name="T11" fmla="*/ 1 h 136"/>
                  <a:gd name="T12" fmla="*/ 1 w 118"/>
                  <a:gd name="T13" fmla="*/ 1 h 136"/>
                  <a:gd name="T14" fmla="*/ 1 w 118"/>
                  <a:gd name="T15" fmla="*/ 0 h 136"/>
                  <a:gd name="T16" fmla="*/ 1 w 118"/>
                  <a:gd name="T17" fmla="*/ 1 h 136"/>
                  <a:gd name="T18" fmla="*/ 1 w 118"/>
                  <a:gd name="T19" fmla="*/ 1 h 136"/>
                  <a:gd name="T20" fmla="*/ 1 w 118"/>
                  <a:gd name="T21" fmla="*/ 1 h 136"/>
                  <a:gd name="T22" fmla="*/ 1 w 118"/>
                  <a:gd name="T23" fmla="*/ 1 h 136"/>
                  <a:gd name="T24" fmla="*/ 1 w 118"/>
                  <a:gd name="T25" fmla="*/ 1 h 136"/>
                  <a:gd name="T26" fmla="*/ 1 w 118"/>
                  <a:gd name="T27" fmla="*/ 1 h 136"/>
                  <a:gd name="T28" fmla="*/ 1 w 118"/>
                  <a:gd name="T29" fmla="*/ 1 h 136"/>
                  <a:gd name="T30" fmla="*/ 1 w 118"/>
                  <a:gd name="T31" fmla="*/ 1 h 136"/>
                  <a:gd name="T32" fmla="*/ 1 w 118"/>
                  <a:gd name="T33" fmla="*/ 1 h 136"/>
                  <a:gd name="T34" fmla="*/ 1 w 118"/>
                  <a:gd name="T35" fmla="*/ 1 h 136"/>
                  <a:gd name="T36" fmla="*/ 1 w 118"/>
                  <a:gd name="T37" fmla="*/ 1 h 136"/>
                  <a:gd name="T38" fmla="*/ 1 w 118"/>
                  <a:gd name="T39" fmla="*/ 1 h 136"/>
                  <a:gd name="T40" fmla="*/ 1 w 118"/>
                  <a:gd name="T41" fmla="*/ 1 h 136"/>
                  <a:gd name="T42" fmla="*/ 1 w 118"/>
                  <a:gd name="T43" fmla="*/ 1 h 136"/>
                  <a:gd name="T44" fmla="*/ 1 w 118"/>
                  <a:gd name="T45" fmla="*/ 1 h 136"/>
                  <a:gd name="T46" fmla="*/ 1 w 118"/>
                  <a:gd name="T47" fmla="*/ 1 h 136"/>
                  <a:gd name="T48" fmla="*/ 0 w 118"/>
                  <a:gd name="T49" fmla="*/ 1 h 136"/>
                  <a:gd name="T50" fmla="*/ 1 w 118"/>
                  <a:gd name="T51" fmla="*/ 1 h 136"/>
                  <a:gd name="T52" fmla="*/ 1 w 118"/>
                  <a:gd name="T53" fmla="*/ 1 h 136"/>
                  <a:gd name="T54" fmla="*/ 1 w 118"/>
                  <a:gd name="T55" fmla="*/ 1 h 136"/>
                  <a:gd name="T56" fmla="*/ 1 w 118"/>
                  <a:gd name="T57" fmla="*/ 1 h 136"/>
                  <a:gd name="T58" fmla="*/ 1 w 118"/>
                  <a:gd name="T59" fmla="*/ 1 h 136"/>
                  <a:gd name="T60" fmla="*/ 1 w 118"/>
                  <a:gd name="T61" fmla="*/ 1 h 136"/>
                  <a:gd name="T62" fmla="*/ 1 w 118"/>
                  <a:gd name="T63" fmla="*/ 1 h 136"/>
                  <a:gd name="T64" fmla="*/ 1 w 118"/>
                  <a:gd name="T65" fmla="*/ 1 h 136"/>
                  <a:gd name="T66" fmla="*/ 1 w 118"/>
                  <a:gd name="T67" fmla="*/ 1 h 136"/>
                  <a:gd name="T68" fmla="*/ 1 w 118"/>
                  <a:gd name="T69" fmla="*/ 1 h 136"/>
                  <a:gd name="T70" fmla="*/ 1 w 118"/>
                  <a:gd name="T71" fmla="*/ 1 h 136"/>
                  <a:gd name="T72" fmla="*/ 1 w 118"/>
                  <a:gd name="T73" fmla="*/ 1 h 136"/>
                  <a:gd name="T74" fmla="*/ 1 w 118"/>
                  <a:gd name="T75" fmla="*/ 1 h 136"/>
                  <a:gd name="T76" fmla="*/ 1 w 118"/>
                  <a:gd name="T77" fmla="*/ 1 h 136"/>
                  <a:gd name="T78" fmla="*/ 1 w 118"/>
                  <a:gd name="T79" fmla="*/ 1 h 136"/>
                  <a:gd name="T80" fmla="*/ 1 w 118"/>
                  <a:gd name="T81" fmla="*/ 1 h 136"/>
                  <a:gd name="T82" fmla="*/ 1 w 118"/>
                  <a:gd name="T83" fmla="*/ 1 h 136"/>
                  <a:gd name="T84" fmla="*/ 1 w 118"/>
                  <a:gd name="T85" fmla="*/ 1 h 136"/>
                  <a:gd name="T86" fmla="*/ 1 w 118"/>
                  <a:gd name="T87" fmla="*/ 1 h 136"/>
                  <a:gd name="T88" fmla="*/ 1 w 118"/>
                  <a:gd name="T89" fmla="*/ 1 h 136"/>
                  <a:gd name="T90" fmla="*/ 1 w 118"/>
                  <a:gd name="T91" fmla="*/ 1 h 136"/>
                  <a:gd name="T92" fmla="*/ 1 w 118"/>
                  <a:gd name="T93" fmla="*/ 1 h 136"/>
                  <a:gd name="T94" fmla="*/ 1 w 118"/>
                  <a:gd name="T95" fmla="*/ 1 h 136"/>
                  <a:gd name="T96" fmla="*/ 1 w 118"/>
                  <a:gd name="T97" fmla="*/ 1 h 136"/>
                  <a:gd name="T98" fmla="*/ 1 w 118"/>
                  <a:gd name="T99" fmla="*/ 1 h 136"/>
                  <a:gd name="T100" fmla="*/ 1 w 118"/>
                  <a:gd name="T101" fmla="*/ 1 h 136"/>
                  <a:gd name="T102" fmla="*/ 1 w 118"/>
                  <a:gd name="T103" fmla="*/ 1 h 136"/>
                  <a:gd name="T104" fmla="*/ 1 w 118"/>
                  <a:gd name="T105" fmla="*/ 1 h 136"/>
                  <a:gd name="T106" fmla="*/ 1 w 118"/>
                  <a:gd name="T107" fmla="*/ 1 h 136"/>
                  <a:gd name="T108" fmla="*/ 1 w 118"/>
                  <a:gd name="T109" fmla="*/ 1 h 136"/>
                  <a:gd name="T110" fmla="*/ 1 w 118"/>
                  <a:gd name="T111" fmla="*/ 1 h 136"/>
                  <a:gd name="T112" fmla="*/ 1 w 118"/>
                  <a:gd name="T113" fmla="*/ 1 h 1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18"/>
                  <a:gd name="T172" fmla="*/ 0 h 136"/>
                  <a:gd name="T173" fmla="*/ 118 w 118"/>
                  <a:gd name="T174" fmla="*/ 136 h 1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18" h="136">
                    <a:moveTo>
                      <a:pt x="59" y="39"/>
                    </a:moveTo>
                    <a:lnTo>
                      <a:pt x="57" y="37"/>
                    </a:lnTo>
                    <a:lnTo>
                      <a:pt x="55" y="33"/>
                    </a:lnTo>
                    <a:lnTo>
                      <a:pt x="55" y="26"/>
                    </a:lnTo>
                    <a:lnTo>
                      <a:pt x="59" y="19"/>
                    </a:lnTo>
                    <a:lnTo>
                      <a:pt x="63" y="11"/>
                    </a:lnTo>
                    <a:lnTo>
                      <a:pt x="61" y="6"/>
                    </a:lnTo>
                    <a:lnTo>
                      <a:pt x="57" y="0"/>
                    </a:lnTo>
                    <a:lnTo>
                      <a:pt x="53" y="2"/>
                    </a:lnTo>
                    <a:lnTo>
                      <a:pt x="49" y="7"/>
                    </a:lnTo>
                    <a:lnTo>
                      <a:pt x="43" y="13"/>
                    </a:lnTo>
                    <a:lnTo>
                      <a:pt x="34" y="16"/>
                    </a:lnTo>
                    <a:lnTo>
                      <a:pt x="24" y="14"/>
                    </a:lnTo>
                    <a:lnTo>
                      <a:pt x="14" y="14"/>
                    </a:lnTo>
                    <a:lnTo>
                      <a:pt x="10" y="18"/>
                    </a:lnTo>
                    <a:lnTo>
                      <a:pt x="10" y="25"/>
                    </a:lnTo>
                    <a:lnTo>
                      <a:pt x="18" y="30"/>
                    </a:lnTo>
                    <a:lnTo>
                      <a:pt x="26" y="35"/>
                    </a:lnTo>
                    <a:lnTo>
                      <a:pt x="30" y="44"/>
                    </a:lnTo>
                    <a:lnTo>
                      <a:pt x="30" y="49"/>
                    </a:lnTo>
                    <a:lnTo>
                      <a:pt x="26" y="53"/>
                    </a:lnTo>
                    <a:lnTo>
                      <a:pt x="20" y="51"/>
                    </a:lnTo>
                    <a:lnTo>
                      <a:pt x="10" y="51"/>
                    </a:lnTo>
                    <a:lnTo>
                      <a:pt x="4" y="53"/>
                    </a:lnTo>
                    <a:lnTo>
                      <a:pt x="0" y="60"/>
                    </a:lnTo>
                    <a:lnTo>
                      <a:pt x="2" y="70"/>
                    </a:lnTo>
                    <a:lnTo>
                      <a:pt x="6" y="77"/>
                    </a:lnTo>
                    <a:lnTo>
                      <a:pt x="14" y="82"/>
                    </a:lnTo>
                    <a:lnTo>
                      <a:pt x="24" y="84"/>
                    </a:lnTo>
                    <a:lnTo>
                      <a:pt x="38" y="82"/>
                    </a:lnTo>
                    <a:lnTo>
                      <a:pt x="55" y="79"/>
                    </a:lnTo>
                    <a:lnTo>
                      <a:pt x="67" y="79"/>
                    </a:lnTo>
                    <a:lnTo>
                      <a:pt x="73" y="84"/>
                    </a:lnTo>
                    <a:lnTo>
                      <a:pt x="73" y="91"/>
                    </a:lnTo>
                    <a:lnTo>
                      <a:pt x="75" y="100"/>
                    </a:lnTo>
                    <a:lnTo>
                      <a:pt x="79" y="107"/>
                    </a:lnTo>
                    <a:lnTo>
                      <a:pt x="87" y="112"/>
                    </a:lnTo>
                    <a:lnTo>
                      <a:pt x="92" y="117"/>
                    </a:lnTo>
                    <a:lnTo>
                      <a:pt x="94" y="126"/>
                    </a:lnTo>
                    <a:lnTo>
                      <a:pt x="94" y="133"/>
                    </a:lnTo>
                    <a:lnTo>
                      <a:pt x="94" y="136"/>
                    </a:lnTo>
                    <a:lnTo>
                      <a:pt x="96" y="134"/>
                    </a:lnTo>
                    <a:lnTo>
                      <a:pt x="102" y="131"/>
                    </a:lnTo>
                    <a:lnTo>
                      <a:pt x="110" y="127"/>
                    </a:lnTo>
                    <a:lnTo>
                      <a:pt x="116" y="122"/>
                    </a:lnTo>
                    <a:lnTo>
                      <a:pt x="118" y="117"/>
                    </a:lnTo>
                    <a:lnTo>
                      <a:pt x="118" y="112"/>
                    </a:lnTo>
                    <a:lnTo>
                      <a:pt x="114" y="107"/>
                    </a:lnTo>
                    <a:lnTo>
                      <a:pt x="108" y="98"/>
                    </a:lnTo>
                    <a:lnTo>
                      <a:pt x="102" y="87"/>
                    </a:lnTo>
                    <a:lnTo>
                      <a:pt x="94" y="77"/>
                    </a:lnTo>
                    <a:lnTo>
                      <a:pt x="88" y="68"/>
                    </a:lnTo>
                    <a:lnTo>
                      <a:pt x="79" y="65"/>
                    </a:lnTo>
                    <a:lnTo>
                      <a:pt x="69" y="61"/>
                    </a:lnTo>
                    <a:lnTo>
                      <a:pt x="63" y="56"/>
                    </a:lnTo>
                    <a:lnTo>
                      <a:pt x="59" y="49"/>
                    </a:lnTo>
                    <a:lnTo>
                      <a:pt x="59" y="39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71" name="Freeform 30"/>
              <p:cNvSpPr>
                <a:spLocks/>
              </p:cNvSpPr>
              <p:nvPr/>
            </p:nvSpPr>
            <p:spPr bwMode="auto">
              <a:xfrm>
                <a:off x="3557" y="3106"/>
                <a:ext cx="181" cy="158"/>
              </a:xfrm>
              <a:custGeom>
                <a:avLst/>
                <a:gdLst>
                  <a:gd name="T0" fmla="*/ 1 w 260"/>
                  <a:gd name="T1" fmla="*/ 1 h 263"/>
                  <a:gd name="T2" fmla="*/ 1 w 260"/>
                  <a:gd name="T3" fmla="*/ 1 h 263"/>
                  <a:gd name="T4" fmla="*/ 1 w 260"/>
                  <a:gd name="T5" fmla="*/ 1 h 263"/>
                  <a:gd name="T6" fmla="*/ 1 w 260"/>
                  <a:gd name="T7" fmla="*/ 1 h 263"/>
                  <a:gd name="T8" fmla="*/ 1 w 260"/>
                  <a:gd name="T9" fmla="*/ 1 h 263"/>
                  <a:gd name="T10" fmla="*/ 1 w 260"/>
                  <a:gd name="T11" fmla="*/ 1 h 263"/>
                  <a:gd name="T12" fmla="*/ 1 w 260"/>
                  <a:gd name="T13" fmla="*/ 1 h 263"/>
                  <a:gd name="T14" fmla="*/ 1 w 260"/>
                  <a:gd name="T15" fmla="*/ 1 h 263"/>
                  <a:gd name="T16" fmla="*/ 1 w 260"/>
                  <a:gd name="T17" fmla="*/ 1 h 263"/>
                  <a:gd name="T18" fmla="*/ 1 w 260"/>
                  <a:gd name="T19" fmla="*/ 1 h 263"/>
                  <a:gd name="T20" fmla="*/ 1 w 260"/>
                  <a:gd name="T21" fmla="*/ 1 h 263"/>
                  <a:gd name="T22" fmla="*/ 1 w 260"/>
                  <a:gd name="T23" fmla="*/ 1 h 263"/>
                  <a:gd name="T24" fmla="*/ 1 w 260"/>
                  <a:gd name="T25" fmla="*/ 1 h 263"/>
                  <a:gd name="T26" fmla="*/ 1 w 260"/>
                  <a:gd name="T27" fmla="*/ 1 h 263"/>
                  <a:gd name="T28" fmla="*/ 1 w 260"/>
                  <a:gd name="T29" fmla="*/ 1 h 263"/>
                  <a:gd name="T30" fmla="*/ 1 w 260"/>
                  <a:gd name="T31" fmla="*/ 1 h 263"/>
                  <a:gd name="T32" fmla="*/ 1 w 260"/>
                  <a:gd name="T33" fmla="*/ 1 h 263"/>
                  <a:gd name="T34" fmla="*/ 1 w 260"/>
                  <a:gd name="T35" fmla="*/ 1 h 263"/>
                  <a:gd name="T36" fmla="*/ 1 w 260"/>
                  <a:gd name="T37" fmla="*/ 1 h 263"/>
                  <a:gd name="T38" fmla="*/ 1 w 260"/>
                  <a:gd name="T39" fmla="*/ 1 h 263"/>
                  <a:gd name="T40" fmla="*/ 1 w 260"/>
                  <a:gd name="T41" fmla="*/ 1 h 263"/>
                  <a:gd name="T42" fmla="*/ 1 w 260"/>
                  <a:gd name="T43" fmla="*/ 1 h 263"/>
                  <a:gd name="T44" fmla="*/ 1 w 260"/>
                  <a:gd name="T45" fmla="*/ 1 h 263"/>
                  <a:gd name="T46" fmla="*/ 1 w 260"/>
                  <a:gd name="T47" fmla="*/ 1 h 263"/>
                  <a:gd name="T48" fmla="*/ 1 w 260"/>
                  <a:gd name="T49" fmla="*/ 1 h 263"/>
                  <a:gd name="T50" fmla="*/ 1 w 260"/>
                  <a:gd name="T51" fmla="*/ 1 h 263"/>
                  <a:gd name="T52" fmla="*/ 1 w 260"/>
                  <a:gd name="T53" fmla="*/ 1 h 263"/>
                  <a:gd name="T54" fmla="*/ 1 w 260"/>
                  <a:gd name="T55" fmla="*/ 1 h 263"/>
                  <a:gd name="T56" fmla="*/ 1 w 260"/>
                  <a:gd name="T57" fmla="*/ 1 h 263"/>
                  <a:gd name="T58" fmla="*/ 1 w 260"/>
                  <a:gd name="T59" fmla="*/ 1 h 263"/>
                  <a:gd name="T60" fmla="*/ 1 w 260"/>
                  <a:gd name="T61" fmla="*/ 1 h 263"/>
                  <a:gd name="T62" fmla="*/ 1 w 260"/>
                  <a:gd name="T63" fmla="*/ 1 h 263"/>
                  <a:gd name="T64" fmla="*/ 1 w 260"/>
                  <a:gd name="T65" fmla="*/ 1 h 263"/>
                  <a:gd name="T66" fmla="*/ 1 w 260"/>
                  <a:gd name="T67" fmla="*/ 1 h 263"/>
                  <a:gd name="T68" fmla="*/ 1 w 260"/>
                  <a:gd name="T69" fmla="*/ 1 h 263"/>
                  <a:gd name="T70" fmla="*/ 1 w 260"/>
                  <a:gd name="T71" fmla="*/ 1 h 263"/>
                  <a:gd name="T72" fmla="*/ 1 w 260"/>
                  <a:gd name="T73" fmla="*/ 1 h 263"/>
                  <a:gd name="T74" fmla="*/ 1 w 260"/>
                  <a:gd name="T75" fmla="*/ 1 h 263"/>
                  <a:gd name="T76" fmla="*/ 1 w 260"/>
                  <a:gd name="T77" fmla="*/ 1 h 263"/>
                  <a:gd name="T78" fmla="*/ 1 w 260"/>
                  <a:gd name="T79" fmla="*/ 1 h 263"/>
                  <a:gd name="T80" fmla="*/ 1 w 260"/>
                  <a:gd name="T81" fmla="*/ 1 h 263"/>
                  <a:gd name="T82" fmla="*/ 1 w 260"/>
                  <a:gd name="T83" fmla="*/ 1 h 263"/>
                  <a:gd name="T84" fmla="*/ 1 w 260"/>
                  <a:gd name="T85" fmla="*/ 1 h 263"/>
                  <a:gd name="T86" fmla="*/ 1 w 260"/>
                  <a:gd name="T87" fmla="*/ 1 h 263"/>
                  <a:gd name="T88" fmla="*/ 1 w 260"/>
                  <a:gd name="T89" fmla="*/ 1 h 263"/>
                  <a:gd name="T90" fmla="*/ 1 w 260"/>
                  <a:gd name="T91" fmla="*/ 1 h 263"/>
                  <a:gd name="T92" fmla="*/ 1 w 260"/>
                  <a:gd name="T93" fmla="*/ 1 h 263"/>
                  <a:gd name="T94" fmla="*/ 1 w 260"/>
                  <a:gd name="T95" fmla="*/ 1 h 263"/>
                  <a:gd name="T96" fmla="*/ 1 w 260"/>
                  <a:gd name="T97" fmla="*/ 1 h 263"/>
                  <a:gd name="T98" fmla="*/ 1 w 260"/>
                  <a:gd name="T99" fmla="*/ 1 h 263"/>
                  <a:gd name="T100" fmla="*/ 1 w 260"/>
                  <a:gd name="T101" fmla="*/ 1 h 263"/>
                  <a:gd name="T102" fmla="*/ 1 w 260"/>
                  <a:gd name="T103" fmla="*/ 0 h 263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60"/>
                  <a:gd name="T157" fmla="*/ 0 h 263"/>
                  <a:gd name="T158" fmla="*/ 260 w 260"/>
                  <a:gd name="T159" fmla="*/ 263 h 263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60" h="263">
                    <a:moveTo>
                      <a:pt x="14" y="0"/>
                    </a:moveTo>
                    <a:lnTo>
                      <a:pt x="20" y="5"/>
                    </a:lnTo>
                    <a:lnTo>
                      <a:pt x="31" y="15"/>
                    </a:lnTo>
                    <a:lnTo>
                      <a:pt x="43" y="28"/>
                    </a:lnTo>
                    <a:lnTo>
                      <a:pt x="53" y="31"/>
                    </a:lnTo>
                    <a:lnTo>
                      <a:pt x="57" y="28"/>
                    </a:lnTo>
                    <a:lnTo>
                      <a:pt x="63" y="24"/>
                    </a:lnTo>
                    <a:lnTo>
                      <a:pt x="68" y="21"/>
                    </a:lnTo>
                    <a:lnTo>
                      <a:pt x="78" y="21"/>
                    </a:lnTo>
                    <a:lnTo>
                      <a:pt x="84" y="24"/>
                    </a:lnTo>
                    <a:lnTo>
                      <a:pt x="86" y="26"/>
                    </a:lnTo>
                    <a:lnTo>
                      <a:pt x="86" y="29"/>
                    </a:lnTo>
                    <a:lnTo>
                      <a:pt x="92" y="34"/>
                    </a:lnTo>
                    <a:lnTo>
                      <a:pt x="98" y="41"/>
                    </a:lnTo>
                    <a:lnTo>
                      <a:pt x="104" y="45"/>
                    </a:lnTo>
                    <a:lnTo>
                      <a:pt x="108" y="50"/>
                    </a:lnTo>
                    <a:lnTo>
                      <a:pt x="110" y="57"/>
                    </a:lnTo>
                    <a:lnTo>
                      <a:pt x="113" y="64"/>
                    </a:lnTo>
                    <a:lnTo>
                      <a:pt x="119" y="73"/>
                    </a:lnTo>
                    <a:lnTo>
                      <a:pt x="125" y="78"/>
                    </a:lnTo>
                    <a:lnTo>
                      <a:pt x="133" y="83"/>
                    </a:lnTo>
                    <a:lnTo>
                      <a:pt x="143" y="92"/>
                    </a:lnTo>
                    <a:lnTo>
                      <a:pt x="153" y="102"/>
                    </a:lnTo>
                    <a:lnTo>
                      <a:pt x="160" y="113"/>
                    </a:lnTo>
                    <a:lnTo>
                      <a:pt x="164" y="116"/>
                    </a:lnTo>
                    <a:lnTo>
                      <a:pt x="160" y="115"/>
                    </a:lnTo>
                    <a:lnTo>
                      <a:pt x="153" y="109"/>
                    </a:lnTo>
                    <a:lnTo>
                      <a:pt x="141" y="104"/>
                    </a:lnTo>
                    <a:lnTo>
                      <a:pt x="131" y="99"/>
                    </a:lnTo>
                    <a:lnTo>
                      <a:pt x="123" y="95"/>
                    </a:lnTo>
                    <a:lnTo>
                      <a:pt x="113" y="90"/>
                    </a:lnTo>
                    <a:lnTo>
                      <a:pt x="106" y="87"/>
                    </a:lnTo>
                    <a:lnTo>
                      <a:pt x="104" y="85"/>
                    </a:lnTo>
                    <a:lnTo>
                      <a:pt x="106" y="88"/>
                    </a:lnTo>
                    <a:lnTo>
                      <a:pt x="108" y="95"/>
                    </a:lnTo>
                    <a:lnTo>
                      <a:pt x="113" y="104"/>
                    </a:lnTo>
                    <a:lnTo>
                      <a:pt x="123" y="113"/>
                    </a:lnTo>
                    <a:lnTo>
                      <a:pt x="133" y="120"/>
                    </a:lnTo>
                    <a:lnTo>
                      <a:pt x="145" y="127"/>
                    </a:lnTo>
                    <a:lnTo>
                      <a:pt x="155" y="130"/>
                    </a:lnTo>
                    <a:lnTo>
                      <a:pt x="164" y="130"/>
                    </a:lnTo>
                    <a:lnTo>
                      <a:pt x="172" y="132"/>
                    </a:lnTo>
                    <a:lnTo>
                      <a:pt x="180" y="139"/>
                    </a:lnTo>
                    <a:lnTo>
                      <a:pt x="188" y="146"/>
                    </a:lnTo>
                    <a:lnTo>
                      <a:pt x="196" y="153"/>
                    </a:lnTo>
                    <a:lnTo>
                      <a:pt x="205" y="163"/>
                    </a:lnTo>
                    <a:lnTo>
                      <a:pt x="217" y="182"/>
                    </a:lnTo>
                    <a:lnTo>
                      <a:pt x="231" y="196"/>
                    </a:lnTo>
                    <a:lnTo>
                      <a:pt x="239" y="202"/>
                    </a:lnTo>
                    <a:lnTo>
                      <a:pt x="245" y="200"/>
                    </a:lnTo>
                    <a:lnTo>
                      <a:pt x="252" y="202"/>
                    </a:lnTo>
                    <a:lnTo>
                      <a:pt x="258" y="209"/>
                    </a:lnTo>
                    <a:lnTo>
                      <a:pt x="260" y="219"/>
                    </a:lnTo>
                    <a:lnTo>
                      <a:pt x="258" y="231"/>
                    </a:lnTo>
                    <a:lnTo>
                      <a:pt x="256" y="243"/>
                    </a:lnTo>
                    <a:lnTo>
                      <a:pt x="250" y="250"/>
                    </a:lnTo>
                    <a:lnTo>
                      <a:pt x="243" y="249"/>
                    </a:lnTo>
                    <a:lnTo>
                      <a:pt x="235" y="240"/>
                    </a:lnTo>
                    <a:lnTo>
                      <a:pt x="231" y="233"/>
                    </a:lnTo>
                    <a:lnTo>
                      <a:pt x="227" y="229"/>
                    </a:lnTo>
                    <a:lnTo>
                      <a:pt x="225" y="235"/>
                    </a:lnTo>
                    <a:lnTo>
                      <a:pt x="225" y="245"/>
                    </a:lnTo>
                    <a:lnTo>
                      <a:pt x="225" y="257"/>
                    </a:lnTo>
                    <a:lnTo>
                      <a:pt x="223" y="263"/>
                    </a:lnTo>
                    <a:lnTo>
                      <a:pt x="215" y="259"/>
                    </a:lnTo>
                    <a:lnTo>
                      <a:pt x="205" y="249"/>
                    </a:lnTo>
                    <a:lnTo>
                      <a:pt x="196" y="242"/>
                    </a:lnTo>
                    <a:lnTo>
                      <a:pt x="190" y="233"/>
                    </a:lnTo>
                    <a:lnTo>
                      <a:pt x="188" y="224"/>
                    </a:lnTo>
                    <a:lnTo>
                      <a:pt x="190" y="214"/>
                    </a:lnTo>
                    <a:lnTo>
                      <a:pt x="190" y="205"/>
                    </a:lnTo>
                    <a:lnTo>
                      <a:pt x="184" y="196"/>
                    </a:lnTo>
                    <a:lnTo>
                      <a:pt x="172" y="191"/>
                    </a:lnTo>
                    <a:lnTo>
                      <a:pt x="160" y="186"/>
                    </a:lnTo>
                    <a:lnTo>
                      <a:pt x="155" y="182"/>
                    </a:lnTo>
                    <a:lnTo>
                      <a:pt x="151" y="179"/>
                    </a:lnTo>
                    <a:lnTo>
                      <a:pt x="147" y="172"/>
                    </a:lnTo>
                    <a:lnTo>
                      <a:pt x="145" y="165"/>
                    </a:lnTo>
                    <a:lnTo>
                      <a:pt x="141" y="160"/>
                    </a:lnTo>
                    <a:lnTo>
                      <a:pt x="137" y="155"/>
                    </a:lnTo>
                    <a:lnTo>
                      <a:pt x="127" y="149"/>
                    </a:lnTo>
                    <a:lnTo>
                      <a:pt x="119" y="146"/>
                    </a:lnTo>
                    <a:lnTo>
                      <a:pt x="115" y="141"/>
                    </a:lnTo>
                    <a:lnTo>
                      <a:pt x="111" y="137"/>
                    </a:lnTo>
                    <a:lnTo>
                      <a:pt x="102" y="132"/>
                    </a:lnTo>
                    <a:lnTo>
                      <a:pt x="90" y="129"/>
                    </a:lnTo>
                    <a:lnTo>
                      <a:pt x="80" y="123"/>
                    </a:lnTo>
                    <a:lnTo>
                      <a:pt x="74" y="118"/>
                    </a:lnTo>
                    <a:lnTo>
                      <a:pt x="72" y="109"/>
                    </a:lnTo>
                    <a:lnTo>
                      <a:pt x="70" y="97"/>
                    </a:lnTo>
                    <a:lnTo>
                      <a:pt x="65" y="87"/>
                    </a:lnTo>
                    <a:lnTo>
                      <a:pt x="57" y="76"/>
                    </a:lnTo>
                    <a:lnTo>
                      <a:pt x="53" y="66"/>
                    </a:lnTo>
                    <a:lnTo>
                      <a:pt x="51" y="59"/>
                    </a:lnTo>
                    <a:lnTo>
                      <a:pt x="51" y="54"/>
                    </a:lnTo>
                    <a:lnTo>
                      <a:pt x="47" y="50"/>
                    </a:lnTo>
                    <a:lnTo>
                      <a:pt x="41" y="43"/>
                    </a:lnTo>
                    <a:lnTo>
                      <a:pt x="35" y="38"/>
                    </a:lnTo>
                    <a:lnTo>
                      <a:pt x="27" y="31"/>
                    </a:lnTo>
                    <a:lnTo>
                      <a:pt x="18" y="22"/>
                    </a:lnTo>
                    <a:lnTo>
                      <a:pt x="10" y="15"/>
                    </a:lnTo>
                    <a:lnTo>
                      <a:pt x="2" y="8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72" name="Freeform 31"/>
              <p:cNvSpPr>
                <a:spLocks/>
              </p:cNvSpPr>
              <p:nvPr/>
            </p:nvSpPr>
            <p:spPr bwMode="auto">
              <a:xfrm>
                <a:off x="3674" y="3332"/>
                <a:ext cx="61" cy="47"/>
              </a:xfrm>
              <a:custGeom>
                <a:avLst/>
                <a:gdLst>
                  <a:gd name="T0" fmla="*/ 1 w 88"/>
                  <a:gd name="T1" fmla="*/ 0 h 79"/>
                  <a:gd name="T2" fmla="*/ 1 w 88"/>
                  <a:gd name="T3" fmla="*/ 0 h 79"/>
                  <a:gd name="T4" fmla="*/ 1 w 88"/>
                  <a:gd name="T5" fmla="*/ 1 h 79"/>
                  <a:gd name="T6" fmla="*/ 1 w 88"/>
                  <a:gd name="T7" fmla="*/ 1 h 79"/>
                  <a:gd name="T8" fmla="*/ 1 w 88"/>
                  <a:gd name="T9" fmla="*/ 1 h 79"/>
                  <a:gd name="T10" fmla="*/ 1 w 88"/>
                  <a:gd name="T11" fmla="*/ 1 h 79"/>
                  <a:gd name="T12" fmla="*/ 1 w 88"/>
                  <a:gd name="T13" fmla="*/ 1 h 79"/>
                  <a:gd name="T14" fmla="*/ 1 w 88"/>
                  <a:gd name="T15" fmla="*/ 1 h 79"/>
                  <a:gd name="T16" fmla="*/ 1 w 88"/>
                  <a:gd name="T17" fmla="*/ 1 h 79"/>
                  <a:gd name="T18" fmla="*/ 1 w 88"/>
                  <a:gd name="T19" fmla="*/ 1 h 79"/>
                  <a:gd name="T20" fmla="*/ 1 w 88"/>
                  <a:gd name="T21" fmla="*/ 1 h 79"/>
                  <a:gd name="T22" fmla="*/ 1 w 88"/>
                  <a:gd name="T23" fmla="*/ 1 h 79"/>
                  <a:gd name="T24" fmla="*/ 1 w 88"/>
                  <a:gd name="T25" fmla="*/ 1 h 79"/>
                  <a:gd name="T26" fmla="*/ 1 w 88"/>
                  <a:gd name="T27" fmla="*/ 1 h 79"/>
                  <a:gd name="T28" fmla="*/ 1 w 88"/>
                  <a:gd name="T29" fmla="*/ 1 h 79"/>
                  <a:gd name="T30" fmla="*/ 1 w 88"/>
                  <a:gd name="T31" fmla="*/ 1 h 79"/>
                  <a:gd name="T32" fmla="*/ 1 w 88"/>
                  <a:gd name="T33" fmla="*/ 1 h 79"/>
                  <a:gd name="T34" fmla="*/ 1 w 88"/>
                  <a:gd name="T35" fmla="*/ 1 h 79"/>
                  <a:gd name="T36" fmla="*/ 1 w 88"/>
                  <a:gd name="T37" fmla="*/ 1 h 79"/>
                  <a:gd name="T38" fmla="*/ 1 w 88"/>
                  <a:gd name="T39" fmla="*/ 1 h 79"/>
                  <a:gd name="T40" fmla="*/ 1 w 88"/>
                  <a:gd name="T41" fmla="*/ 1 h 79"/>
                  <a:gd name="T42" fmla="*/ 1 w 88"/>
                  <a:gd name="T43" fmla="*/ 1 h 79"/>
                  <a:gd name="T44" fmla="*/ 0 w 88"/>
                  <a:gd name="T45" fmla="*/ 1 h 79"/>
                  <a:gd name="T46" fmla="*/ 1 w 88"/>
                  <a:gd name="T47" fmla="*/ 1 h 79"/>
                  <a:gd name="T48" fmla="*/ 1 w 88"/>
                  <a:gd name="T49" fmla="*/ 0 h 7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88"/>
                  <a:gd name="T76" fmla="*/ 0 h 79"/>
                  <a:gd name="T77" fmla="*/ 88 w 88"/>
                  <a:gd name="T78" fmla="*/ 79 h 79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88" h="79">
                    <a:moveTo>
                      <a:pt x="2" y="0"/>
                    </a:moveTo>
                    <a:lnTo>
                      <a:pt x="4" y="0"/>
                    </a:lnTo>
                    <a:lnTo>
                      <a:pt x="10" y="2"/>
                    </a:lnTo>
                    <a:lnTo>
                      <a:pt x="20" y="7"/>
                    </a:lnTo>
                    <a:lnTo>
                      <a:pt x="33" y="16"/>
                    </a:lnTo>
                    <a:lnTo>
                      <a:pt x="47" y="25"/>
                    </a:lnTo>
                    <a:lnTo>
                      <a:pt x="57" y="30"/>
                    </a:lnTo>
                    <a:lnTo>
                      <a:pt x="65" y="35"/>
                    </a:lnTo>
                    <a:lnTo>
                      <a:pt x="75" y="44"/>
                    </a:lnTo>
                    <a:lnTo>
                      <a:pt x="84" y="58"/>
                    </a:lnTo>
                    <a:lnTo>
                      <a:pt x="88" y="72"/>
                    </a:lnTo>
                    <a:lnTo>
                      <a:pt x="88" y="79"/>
                    </a:lnTo>
                    <a:lnTo>
                      <a:pt x="80" y="79"/>
                    </a:lnTo>
                    <a:lnTo>
                      <a:pt x="73" y="74"/>
                    </a:lnTo>
                    <a:lnTo>
                      <a:pt x="63" y="68"/>
                    </a:lnTo>
                    <a:lnTo>
                      <a:pt x="53" y="60"/>
                    </a:lnTo>
                    <a:lnTo>
                      <a:pt x="37" y="47"/>
                    </a:lnTo>
                    <a:lnTo>
                      <a:pt x="26" y="35"/>
                    </a:lnTo>
                    <a:lnTo>
                      <a:pt x="18" y="28"/>
                    </a:lnTo>
                    <a:lnTo>
                      <a:pt x="12" y="23"/>
                    </a:lnTo>
                    <a:lnTo>
                      <a:pt x="6" y="18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73" name="Freeform 32"/>
              <p:cNvSpPr>
                <a:spLocks/>
              </p:cNvSpPr>
              <p:nvPr/>
            </p:nvSpPr>
            <p:spPr bwMode="auto">
              <a:xfrm>
                <a:off x="3753" y="3388"/>
                <a:ext cx="84" cy="59"/>
              </a:xfrm>
              <a:custGeom>
                <a:avLst/>
                <a:gdLst>
                  <a:gd name="T0" fmla="*/ 0 w 119"/>
                  <a:gd name="T1" fmla="*/ 0 h 98"/>
                  <a:gd name="T2" fmla="*/ 0 w 119"/>
                  <a:gd name="T3" fmla="*/ 1 h 98"/>
                  <a:gd name="T4" fmla="*/ 1 w 119"/>
                  <a:gd name="T5" fmla="*/ 1 h 98"/>
                  <a:gd name="T6" fmla="*/ 1 w 119"/>
                  <a:gd name="T7" fmla="*/ 1 h 98"/>
                  <a:gd name="T8" fmla="*/ 1 w 119"/>
                  <a:gd name="T9" fmla="*/ 1 h 98"/>
                  <a:gd name="T10" fmla="*/ 1 w 119"/>
                  <a:gd name="T11" fmla="*/ 1 h 98"/>
                  <a:gd name="T12" fmla="*/ 1 w 119"/>
                  <a:gd name="T13" fmla="*/ 1 h 98"/>
                  <a:gd name="T14" fmla="*/ 1 w 119"/>
                  <a:gd name="T15" fmla="*/ 1 h 98"/>
                  <a:gd name="T16" fmla="*/ 1 w 119"/>
                  <a:gd name="T17" fmla="*/ 1 h 98"/>
                  <a:gd name="T18" fmla="*/ 1 w 119"/>
                  <a:gd name="T19" fmla="*/ 1 h 98"/>
                  <a:gd name="T20" fmla="*/ 1 w 119"/>
                  <a:gd name="T21" fmla="*/ 1 h 98"/>
                  <a:gd name="T22" fmla="*/ 1 w 119"/>
                  <a:gd name="T23" fmla="*/ 1 h 98"/>
                  <a:gd name="T24" fmla="*/ 1 w 119"/>
                  <a:gd name="T25" fmla="*/ 1 h 98"/>
                  <a:gd name="T26" fmla="*/ 1 w 119"/>
                  <a:gd name="T27" fmla="*/ 1 h 98"/>
                  <a:gd name="T28" fmla="*/ 1 w 119"/>
                  <a:gd name="T29" fmla="*/ 1 h 98"/>
                  <a:gd name="T30" fmla="*/ 1 w 119"/>
                  <a:gd name="T31" fmla="*/ 1 h 98"/>
                  <a:gd name="T32" fmla="*/ 1 w 119"/>
                  <a:gd name="T33" fmla="*/ 1 h 98"/>
                  <a:gd name="T34" fmla="*/ 1 w 119"/>
                  <a:gd name="T35" fmla="*/ 1 h 98"/>
                  <a:gd name="T36" fmla="*/ 1 w 119"/>
                  <a:gd name="T37" fmla="*/ 1 h 98"/>
                  <a:gd name="T38" fmla="*/ 1 w 119"/>
                  <a:gd name="T39" fmla="*/ 1 h 98"/>
                  <a:gd name="T40" fmla="*/ 1 w 119"/>
                  <a:gd name="T41" fmla="*/ 1 h 98"/>
                  <a:gd name="T42" fmla="*/ 1 w 119"/>
                  <a:gd name="T43" fmla="*/ 1 h 98"/>
                  <a:gd name="T44" fmla="*/ 1 w 119"/>
                  <a:gd name="T45" fmla="*/ 1 h 98"/>
                  <a:gd name="T46" fmla="*/ 1 w 119"/>
                  <a:gd name="T47" fmla="*/ 1 h 98"/>
                  <a:gd name="T48" fmla="*/ 1 w 119"/>
                  <a:gd name="T49" fmla="*/ 1 h 98"/>
                  <a:gd name="T50" fmla="*/ 1 w 119"/>
                  <a:gd name="T51" fmla="*/ 1 h 98"/>
                  <a:gd name="T52" fmla="*/ 1 w 119"/>
                  <a:gd name="T53" fmla="*/ 1 h 98"/>
                  <a:gd name="T54" fmla="*/ 1 w 119"/>
                  <a:gd name="T55" fmla="*/ 1 h 98"/>
                  <a:gd name="T56" fmla="*/ 1 w 119"/>
                  <a:gd name="T57" fmla="*/ 1 h 98"/>
                  <a:gd name="T58" fmla="*/ 1 w 119"/>
                  <a:gd name="T59" fmla="*/ 1 h 98"/>
                  <a:gd name="T60" fmla="*/ 1 w 119"/>
                  <a:gd name="T61" fmla="*/ 1 h 98"/>
                  <a:gd name="T62" fmla="*/ 1 w 119"/>
                  <a:gd name="T63" fmla="*/ 1 h 98"/>
                  <a:gd name="T64" fmla="*/ 1 w 119"/>
                  <a:gd name="T65" fmla="*/ 1 h 98"/>
                  <a:gd name="T66" fmla="*/ 1 w 119"/>
                  <a:gd name="T67" fmla="*/ 1 h 98"/>
                  <a:gd name="T68" fmla="*/ 1 w 119"/>
                  <a:gd name="T69" fmla="*/ 1 h 98"/>
                  <a:gd name="T70" fmla="*/ 1 w 119"/>
                  <a:gd name="T71" fmla="*/ 1 h 98"/>
                  <a:gd name="T72" fmla="*/ 0 w 119"/>
                  <a:gd name="T73" fmla="*/ 0 h 9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19"/>
                  <a:gd name="T112" fmla="*/ 0 h 98"/>
                  <a:gd name="T113" fmla="*/ 119 w 119"/>
                  <a:gd name="T114" fmla="*/ 98 h 9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19" h="98">
                    <a:moveTo>
                      <a:pt x="0" y="0"/>
                    </a:moveTo>
                    <a:lnTo>
                      <a:pt x="0" y="4"/>
                    </a:lnTo>
                    <a:lnTo>
                      <a:pt x="2" y="11"/>
                    </a:lnTo>
                    <a:lnTo>
                      <a:pt x="6" y="21"/>
                    </a:lnTo>
                    <a:lnTo>
                      <a:pt x="10" y="30"/>
                    </a:lnTo>
                    <a:lnTo>
                      <a:pt x="15" y="35"/>
                    </a:lnTo>
                    <a:lnTo>
                      <a:pt x="19" y="37"/>
                    </a:lnTo>
                    <a:lnTo>
                      <a:pt x="23" y="39"/>
                    </a:lnTo>
                    <a:lnTo>
                      <a:pt x="29" y="46"/>
                    </a:lnTo>
                    <a:lnTo>
                      <a:pt x="35" y="53"/>
                    </a:lnTo>
                    <a:lnTo>
                      <a:pt x="41" y="58"/>
                    </a:lnTo>
                    <a:lnTo>
                      <a:pt x="49" y="63"/>
                    </a:lnTo>
                    <a:lnTo>
                      <a:pt x="58" y="70"/>
                    </a:lnTo>
                    <a:lnTo>
                      <a:pt x="68" y="77"/>
                    </a:lnTo>
                    <a:lnTo>
                      <a:pt x="78" y="82"/>
                    </a:lnTo>
                    <a:lnTo>
                      <a:pt x="86" y="86"/>
                    </a:lnTo>
                    <a:lnTo>
                      <a:pt x="92" y="89"/>
                    </a:lnTo>
                    <a:lnTo>
                      <a:pt x="100" y="94"/>
                    </a:lnTo>
                    <a:lnTo>
                      <a:pt x="111" y="98"/>
                    </a:lnTo>
                    <a:lnTo>
                      <a:pt x="119" y="98"/>
                    </a:lnTo>
                    <a:lnTo>
                      <a:pt x="119" y="91"/>
                    </a:lnTo>
                    <a:lnTo>
                      <a:pt x="111" y="81"/>
                    </a:lnTo>
                    <a:lnTo>
                      <a:pt x="101" y="72"/>
                    </a:lnTo>
                    <a:lnTo>
                      <a:pt x="94" y="67"/>
                    </a:lnTo>
                    <a:lnTo>
                      <a:pt x="92" y="65"/>
                    </a:lnTo>
                    <a:lnTo>
                      <a:pt x="90" y="60"/>
                    </a:lnTo>
                    <a:lnTo>
                      <a:pt x="84" y="51"/>
                    </a:lnTo>
                    <a:lnTo>
                      <a:pt x="74" y="41"/>
                    </a:lnTo>
                    <a:lnTo>
                      <a:pt x="64" y="39"/>
                    </a:lnTo>
                    <a:lnTo>
                      <a:pt x="56" y="39"/>
                    </a:lnTo>
                    <a:lnTo>
                      <a:pt x="55" y="35"/>
                    </a:lnTo>
                    <a:lnTo>
                      <a:pt x="53" y="30"/>
                    </a:lnTo>
                    <a:lnTo>
                      <a:pt x="47" y="23"/>
                    </a:lnTo>
                    <a:lnTo>
                      <a:pt x="37" y="16"/>
                    </a:lnTo>
                    <a:lnTo>
                      <a:pt x="23" y="9"/>
                    </a:lnTo>
                    <a:lnTo>
                      <a:pt x="1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74" name="Freeform 33"/>
              <p:cNvSpPr>
                <a:spLocks/>
              </p:cNvSpPr>
              <p:nvPr/>
            </p:nvSpPr>
            <p:spPr bwMode="auto">
              <a:xfrm>
                <a:off x="3584" y="3319"/>
                <a:ext cx="129" cy="112"/>
              </a:xfrm>
              <a:custGeom>
                <a:avLst/>
                <a:gdLst>
                  <a:gd name="T0" fmla="*/ 1 w 186"/>
                  <a:gd name="T1" fmla="*/ 1 h 188"/>
                  <a:gd name="T2" fmla="*/ 1 w 186"/>
                  <a:gd name="T3" fmla="*/ 0 h 188"/>
                  <a:gd name="T4" fmla="*/ 1 w 186"/>
                  <a:gd name="T5" fmla="*/ 1 h 188"/>
                  <a:gd name="T6" fmla="*/ 1 w 186"/>
                  <a:gd name="T7" fmla="*/ 1 h 188"/>
                  <a:gd name="T8" fmla="*/ 0 w 186"/>
                  <a:gd name="T9" fmla="*/ 1 h 188"/>
                  <a:gd name="T10" fmla="*/ 1 w 186"/>
                  <a:gd name="T11" fmla="*/ 1 h 188"/>
                  <a:gd name="T12" fmla="*/ 1 w 186"/>
                  <a:gd name="T13" fmla="*/ 1 h 188"/>
                  <a:gd name="T14" fmla="*/ 1 w 186"/>
                  <a:gd name="T15" fmla="*/ 1 h 188"/>
                  <a:gd name="T16" fmla="*/ 1 w 186"/>
                  <a:gd name="T17" fmla="*/ 1 h 188"/>
                  <a:gd name="T18" fmla="*/ 1 w 186"/>
                  <a:gd name="T19" fmla="*/ 1 h 188"/>
                  <a:gd name="T20" fmla="*/ 1 w 186"/>
                  <a:gd name="T21" fmla="*/ 1 h 188"/>
                  <a:gd name="T22" fmla="*/ 1 w 186"/>
                  <a:gd name="T23" fmla="*/ 1 h 188"/>
                  <a:gd name="T24" fmla="*/ 1 w 186"/>
                  <a:gd name="T25" fmla="*/ 1 h 188"/>
                  <a:gd name="T26" fmla="*/ 1 w 186"/>
                  <a:gd name="T27" fmla="*/ 1 h 188"/>
                  <a:gd name="T28" fmla="*/ 1 w 186"/>
                  <a:gd name="T29" fmla="*/ 1 h 188"/>
                  <a:gd name="T30" fmla="*/ 1 w 186"/>
                  <a:gd name="T31" fmla="*/ 1 h 188"/>
                  <a:gd name="T32" fmla="*/ 1 w 186"/>
                  <a:gd name="T33" fmla="*/ 1 h 188"/>
                  <a:gd name="T34" fmla="*/ 1 w 186"/>
                  <a:gd name="T35" fmla="*/ 1 h 188"/>
                  <a:gd name="T36" fmla="*/ 1 w 186"/>
                  <a:gd name="T37" fmla="*/ 1 h 188"/>
                  <a:gd name="T38" fmla="*/ 1 w 186"/>
                  <a:gd name="T39" fmla="*/ 1 h 188"/>
                  <a:gd name="T40" fmla="*/ 1 w 186"/>
                  <a:gd name="T41" fmla="*/ 1 h 188"/>
                  <a:gd name="T42" fmla="*/ 1 w 186"/>
                  <a:gd name="T43" fmla="*/ 1 h 188"/>
                  <a:gd name="T44" fmla="*/ 1 w 186"/>
                  <a:gd name="T45" fmla="*/ 1 h 188"/>
                  <a:gd name="T46" fmla="*/ 1 w 186"/>
                  <a:gd name="T47" fmla="*/ 1 h 188"/>
                  <a:gd name="T48" fmla="*/ 1 w 186"/>
                  <a:gd name="T49" fmla="*/ 1 h 188"/>
                  <a:gd name="T50" fmla="*/ 1 w 186"/>
                  <a:gd name="T51" fmla="*/ 1 h 188"/>
                  <a:gd name="T52" fmla="*/ 1 w 186"/>
                  <a:gd name="T53" fmla="*/ 1 h 188"/>
                  <a:gd name="T54" fmla="*/ 1 w 186"/>
                  <a:gd name="T55" fmla="*/ 1 h 188"/>
                  <a:gd name="T56" fmla="*/ 1 w 186"/>
                  <a:gd name="T57" fmla="*/ 1 h 188"/>
                  <a:gd name="T58" fmla="*/ 1 w 186"/>
                  <a:gd name="T59" fmla="*/ 1 h 188"/>
                  <a:gd name="T60" fmla="*/ 1 w 186"/>
                  <a:gd name="T61" fmla="*/ 1 h 188"/>
                  <a:gd name="T62" fmla="*/ 1 w 186"/>
                  <a:gd name="T63" fmla="*/ 1 h 188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86"/>
                  <a:gd name="T97" fmla="*/ 0 h 188"/>
                  <a:gd name="T98" fmla="*/ 186 w 186"/>
                  <a:gd name="T99" fmla="*/ 188 h 188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86" h="188">
                    <a:moveTo>
                      <a:pt x="28" y="10"/>
                    </a:moveTo>
                    <a:lnTo>
                      <a:pt x="24" y="9"/>
                    </a:lnTo>
                    <a:lnTo>
                      <a:pt x="16" y="3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9"/>
                    </a:lnTo>
                    <a:lnTo>
                      <a:pt x="2" y="14"/>
                    </a:lnTo>
                    <a:lnTo>
                      <a:pt x="2" y="17"/>
                    </a:lnTo>
                    <a:lnTo>
                      <a:pt x="2" y="19"/>
                    </a:lnTo>
                    <a:lnTo>
                      <a:pt x="0" y="21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8" y="28"/>
                    </a:lnTo>
                    <a:lnTo>
                      <a:pt x="18" y="28"/>
                    </a:lnTo>
                    <a:lnTo>
                      <a:pt x="28" y="26"/>
                    </a:lnTo>
                    <a:lnTo>
                      <a:pt x="33" y="28"/>
                    </a:lnTo>
                    <a:lnTo>
                      <a:pt x="35" y="36"/>
                    </a:lnTo>
                    <a:lnTo>
                      <a:pt x="37" y="47"/>
                    </a:lnTo>
                    <a:lnTo>
                      <a:pt x="41" y="54"/>
                    </a:lnTo>
                    <a:lnTo>
                      <a:pt x="47" y="59"/>
                    </a:lnTo>
                    <a:lnTo>
                      <a:pt x="59" y="66"/>
                    </a:lnTo>
                    <a:lnTo>
                      <a:pt x="73" y="76"/>
                    </a:lnTo>
                    <a:lnTo>
                      <a:pt x="86" y="92"/>
                    </a:lnTo>
                    <a:lnTo>
                      <a:pt x="100" y="109"/>
                    </a:lnTo>
                    <a:lnTo>
                      <a:pt x="108" y="123"/>
                    </a:lnTo>
                    <a:lnTo>
                      <a:pt x="118" y="134"/>
                    </a:lnTo>
                    <a:lnTo>
                      <a:pt x="127" y="144"/>
                    </a:lnTo>
                    <a:lnTo>
                      <a:pt x="137" y="153"/>
                    </a:lnTo>
                    <a:lnTo>
                      <a:pt x="145" y="162"/>
                    </a:lnTo>
                    <a:lnTo>
                      <a:pt x="151" y="170"/>
                    </a:lnTo>
                    <a:lnTo>
                      <a:pt x="157" y="179"/>
                    </a:lnTo>
                    <a:lnTo>
                      <a:pt x="163" y="186"/>
                    </a:lnTo>
                    <a:lnTo>
                      <a:pt x="168" y="188"/>
                    </a:lnTo>
                    <a:lnTo>
                      <a:pt x="176" y="186"/>
                    </a:lnTo>
                    <a:lnTo>
                      <a:pt x="182" y="184"/>
                    </a:lnTo>
                    <a:lnTo>
                      <a:pt x="186" y="179"/>
                    </a:lnTo>
                    <a:lnTo>
                      <a:pt x="182" y="172"/>
                    </a:lnTo>
                    <a:lnTo>
                      <a:pt x="176" y="162"/>
                    </a:lnTo>
                    <a:lnTo>
                      <a:pt x="166" y="151"/>
                    </a:lnTo>
                    <a:lnTo>
                      <a:pt x="159" y="141"/>
                    </a:lnTo>
                    <a:lnTo>
                      <a:pt x="151" y="136"/>
                    </a:lnTo>
                    <a:lnTo>
                      <a:pt x="145" y="132"/>
                    </a:lnTo>
                    <a:lnTo>
                      <a:pt x="141" y="130"/>
                    </a:lnTo>
                    <a:lnTo>
                      <a:pt x="137" y="127"/>
                    </a:lnTo>
                    <a:lnTo>
                      <a:pt x="135" y="123"/>
                    </a:lnTo>
                    <a:lnTo>
                      <a:pt x="135" y="118"/>
                    </a:lnTo>
                    <a:lnTo>
                      <a:pt x="133" y="113"/>
                    </a:lnTo>
                    <a:lnTo>
                      <a:pt x="127" y="109"/>
                    </a:lnTo>
                    <a:lnTo>
                      <a:pt x="119" y="103"/>
                    </a:lnTo>
                    <a:lnTo>
                      <a:pt x="110" y="92"/>
                    </a:lnTo>
                    <a:lnTo>
                      <a:pt x="100" y="78"/>
                    </a:lnTo>
                    <a:lnTo>
                      <a:pt x="90" y="68"/>
                    </a:lnTo>
                    <a:lnTo>
                      <a:pt x="78" y="61"/>
                    </a:lnTo>
                    <a:lnTo>
                      <a:pt x="69" y="59"/>
                    </a:lnTo>
                    <a:lnTo>
                      <a:pt x="61" y="56"/>
                    </a:lnTo>
                    <a:lnTo>
                      <a:pt x="57" y="52"/>
                    </a:lnTo>
                    <a:lnTo>
                      <a:pt x="55" y="45"/>
                    </a:lnTo>
                    <a:lnTo>
                      <a:pt x="53" y="36"/>
                    </a:lnTo>
                    <a:lnTo>
                      <a:pt x="47" y="29"/>
                    </a:lnTo>
                    <a:lnTo>
                      <a:pt x="39" y="22"/>
                    </a:lnTo>
                    <a:lnTo>
                      <a:pt x="29" y="19"/>
                    </a:lnTo>
                    <a:lnTo>
                      <a:pt x="24" y="15"/>
                    </a:lnTo>
                    <a:lnTo>
                      <a:pt x="24" y="12"/>
                    </a:lnTo>
                    <a:lnTo>
                      <a:pt x="26" y="10"/>
                    </a:lnTo>
                    <a:lnTo>
                      <a:pt x="28" y="10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75" name="Freeform 34"/>
              <p:cNvSpPr>
                <a:spLocks/>
              </p:cNvSpPr>
              <p:nvPr/>
            </p:nvSpPr>
            <p:spPr bwMode="auto">
              <a:xfrm>
                <a:off x="3416" y="3148"/>
                <a:ext cx="37" cy="38"/>
              </a:xfrm>
              <a:custGeom>
                <a:avLst/>
                <a:gdLst>
                  <a:gd name="T0" fmla="*/ 1 w 53"/>
                  <a:gd name="T1" fmla="*/ 0 h 65"/>
                  <a:gd name="T2" fmla="*/ 1 w 53"/>
                  <a:gd name="T3" fmla="*/ 1 h 65"/>
                  <a:gd name="T4" fmla="*/ 1 w 53"/>
                  <a:gd name="T5" fmla="*/ 1 h 65"/>
                  <a:gd name="T6" fmla="*/ 1 w 53"/>
                  <a:gd name="T7" fmla="*/ 1 h 65"/>
                  <a:gd name="T8" fmla="*/ 1 w 53"/>
                  <a:gd name="T9" fmla="*/ 1 h 65"/>
                  <a:gd name="T10" fmla="*/ 1 w 53"/>
                  <a:gd name="T11" fmla="*/ 1 h 65"/>
                  <a:gd name="T12" fmla="*/ 1 w 53"/>
                  <a:gd name="T13" fmla="*/ 1 h 65"/>
                  <a:gd name="T14" fmla="*/ 1 w 53"/>
                  <a:gd name="T15" fmla="*/ 1 h 65"/>
                  <a:gd name="T16" fmla="*/ 1 w 53"/>
                  <a:gd name="T17" fmla="*/ 1 h 65"/>
                  <a:gd name="T18" fmla="*/ 1 w 53"/>
                  <a:gd name="T19" fmla="*/ 1 h 65"/>
                  <a:gd name="T20" fmla="*/ 1 w 53"/>
                  <a:gd name="T21" fmla="*/ 1 h 65"/>
                  <a:gd name="T22" fmla="*/ 1 w 53"/>
                  <a:gd name="T23" fmla="*/ 1 h 65"/>
                  <a:gd name="T24" fmla="*/ 1 w 53"/>
                  <a:gd name="T25" fmla="*/ 1 h 65"/>
                  <a:gd name="T26" fmla="*/ 1 w 53"/>
                  <a:gd name="T27" fmla="*/ 1 h 65"/>
                  <a:gd name="T28" fmla="*/ 1 w 53"/>
                  <a:gd name="T29" fmla="*/ 1 h 65"/>
                  <a:gd name="T30" fmla="*/ 1 w 53"/>
                  <a:gd name="T31" fmla="*/ 1 h 65"/>
                  <a:gd name="T32" fmla="*/ 1 w 53"/>
                  <a:gd name="T33" fmla="*/ 1 h 65"/>
                  <a:gd name="T34" fmla="*/ 1 w 53"/>
                  <a:gd name="T35" fmla="*/ 1 h 65"/>
                  <a:gd name="T36" fmla="*/ 0 w 53"/>
                  <a:gd name="T37" fmla="*/ 1 h 65"/>
                  <a:gd name="T38" fmla="*/ 0 w 53"/>
                  <a:gd name="T39" fmla="*/ 1 h 65"/>
                  <a:gd name="T40" fmla="*/ 1 w 53"/>
                  <a:gd name="T41" fmla="*/ 0 h 6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53"/>
                  <a:gd name="T64" fmla="*/ 0 h 65"/>
                  <a:gd name="T65" fmla="*/ 53 w 53"/>
                  <a:gd name="T66" fmla="*/ 65 h 6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53" h="65">
                    <a:moveTo>
                      <a:pt x="8" y="0"/>
                    </a:moveTo>
                    <a:lnTo>
                      <a:pt x="12" y="2"/>
                    </a:lnTo>
                    <a:lnTo>
                      <a:pt x="24" y="6"/>
                    </a:lnTo>
                    <a:lnTo>
                      <a:pt x="36" y="13"/>
                    </a:lnTo>
                    <a:lnTo>
                      <a:pt x="43" y="21"/>
                    </a:lnTo>
                    <a:lnTo>
                      <a:pt x="49" y="32"/>
                    </a:lnTo>
                    <a:lnTo>
                      <a:pt x="51" y="42"/>
                    </a:lnTo>
                    <a:lnTo>
                      <a:pt x="53" y="54"/>
                    </a:lnTo>
                    <a:lnTo>
                      <a:pt x="53" y="63"/>
                    </a:lnTo>
                    <a:lnTo>
                      <a:pt x="51" y="65"/>
                    </a:lnTo>
                    <a:lnTo>
                      <a:pt x="47" y="56"/>
                    </a:lnTo>
                    <a:lnTo>
                      <a:pt x="40" y="46"/>
                    </a:lnTo>
                    <a:lnTo>
                      <a:pt x="30" y="39"/>
                    </a:lnTo>
                    <a:lnTo>
                      <a:pt x="24" y="33"/>
                    </a:lnTo>
                    <a:lnTo>
                      <a:pt x="22" y="28"/>
                    </a:lnTo>
                    <a:lnTo>
                      <a:pt x="18" y="23"/>
                    </a:lnTo>
                    <a:lnTo>
                      <a:pt x="12" y="18"/>
                    </a:lnTo>
                    <a:lnTo>
                      <a:pt x="4" y="13"/>
                    </a:lnTo>
                    <a:lnTo>
                      <a:pt x="0" y="7"/>
                    </a:lnTo>
                    <a:lnTo>
                      <a:pt x="0" y="4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76" name="Freeform 35"/>
              <p:cNvSpPr>
                <a:spLocks/>
              </p:cNvSpPr>
              <p:nvPr/>
            </p:nvSpPr>
            <p:spPr bwMode="auto">
              <a:xfrm>
                <a:off x="3548" y="3207"/>
                <a:ext cx="22" cy="32"/>
              </a:xfrm>
              <a:custGeom>
                <a:avLst/>
                <a:gdLst>
                  <a:gd name="T0" fmla="*/ 1 w 32"/>
                  <a:gd name="T1" fmla="*/ 1 h 54"/>
                  <a:gd name="T2" fmla="*/ 1 w 32"/>
                  <a:gd name="T3" fmla="*/ 1 h 54"/>
                  <a:gd name="T4" fmla="*/ 1 w 32"/>
                  <a:gd name="T5" fmla="*/ 1 h 54"/>
                  <a:gd name="T6" fmla="*/ 0 w 32"/>
                  <a:gd name="T7" fmla="*/ 1 h 54"/>
                  <a:gd name="T8" fmla="*/ 0 w 32"/>
                  <a:gd name="T9" fmla="*/ 1 h 54"/>
                  <a:gd name="T10" fmla="*/ 1 w 32"/>
                  <a:gd name="T11" fmla="*/ 1 h 54"/>
                  <a:gd name="T12" fmla="*/ 1 w 32"/>
                  <a:gd name="T13" fmla="*/ 1 h 54"/>
                  <a:gd name="T14" fmla="*/ 1 w 32"/>
                  <a:gd name="T15" fmla="*/ 1 h 54"/>
                  <a:gd name="T16" fmla="*/ 0 w 32"/>
                  <a:gd name="T17" fmla="*/ 1 h 54"/>
                  <a:gd name="T18" fmla="*/ 1 w 32"/>
                  <a:gd name="T19" fmla="*/ 1 h 54"/>
                  <a:gd name="T20" fmla="*/ 1 w 32"/>
                  <a:gd name="T21" fmla="*/ 1 h 54"/>
                  <a:gd name="T22" fmla="*/ 1 w 32"/>
                  <a:gd name="T23" fmla="*/ 1 h 54"/>
                  <a:gd name="T24" fmla="*/ 1 w 32"/>
                  <a:gd name="T25" fmla="*/ 1 h 54"/>
                  <a:gd name="T26" fmla="*/ 1 w 32"/>
                  <a:gd name="T27" fmla="*/ 1 h 54"/>
                  <a:gd name="T28" fmla="*/ 1 w 32"/>
                  <a:gd name="T29" fmla="*/ 1 h 54"/>
                  <a:gd name="T30" fmla="*/ 1 w 32"/>
                  <a:gd name="T31" fmla="*/ 1 h 54"/>
                  <a:gd name="T32" fmla="*/ 1 w 32"/>
                  <a:gd name="T33" fmla="*/ 1 h 54"/>
                  <a:gd name="T34" fmla="*/ 1 w 32"/>
                  <a:gd name="T35" fmla="*/ 1 h 54"/>
                  <a:gd name="T36" fmla="*/ 1 w 32"/>
                  <a:gd name="T37" fmla="*/ 1 h 54"/>
                  <a:gd name="T38" fmla="*/ 1 w 32"/>
                  <a:gd name="T39" fmla="*/ 0 h 54"/>
                  <a:gd name="T40" fmla="*/ 1 w 32"/>
                  <a:gd name="T41" fmla="*/ 1 h 5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2"/>
                  <a:gd name="T64" fmla="*/ 0 h 54"/>
                  <a:gd name="T65" fmla="*/ 32 w 32"/>
                  <a:gd name="T66" fmla="*/ 54 h 5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2" h="54">
                    <a:moveTo>
                      <a:pt x="6" y="2"/>
                    </a:moveTo>
                    <a:lnTo>
                      <a:pt x="4" y="3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0" y="19"/>
                    </a:lnTo>
                    <a:lnTo>
                      <a:pt x="2" y="28"/>
                    </a:lnTo>
                    <a:lnTo>
                      <a:pt x="4" y="35"/>
                    </a:lnTo>
                    <a:lnTo>
                      <a:pt x="2" y="42"/>
                    </a:lnTo>
                    <a:lnTo>
                      <a:pt x="0" y="47"/>
                    </a:lnTo>
                    <a:lnTo>
                      <a:pt x="2" y="52"/>
                    </a:lnTo>
                    <a:lnTo>
                      <a:pt x="8" y="54"/>
                    </a:lnTo>
                    <a:lnTo>
                      <a:pt x="14" y="52"/>
                    </a:lnTo>
                    <a:lnTo>
                      <a:pt x="22" y="45"/>
                    </a:lnTo>
                    <a:lnTo>
                      <a:pt x="26" y="35"/>
                    </a:lnTo>
                    <a:lnTo>
                      <a:pt x="30" y="26"/>
                    </a:lnTo>
                    <a:lnTo>
                      <a:pt x="32" y="19"/>
                    </a:lnTo>
                    <a:lnTo>
                      <a:pt x="30" y="14"/>
                    </a:lnTo>
                    <a:lnTo>
                      <a:pt x="26" y="7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77" name="Freeform 36"/>
              <p:cNvSpPr>
                <a:spLocks/>
              </p:cNvSpPr>
              <p:nvPr/>
            </p:nvSpPr>
            <p:spPr bwMode="auto">
              <a:xfrm>
                <a:off x="4244" y="3672"/>
                <a:ext cx="206" cy="63"/>
              </a:xfrm>
              <a:custGeom>
                <a:avLst/>
                <a:gdLst>
                  <a:gd name="T0" fmla="*/ 1 w 296"/>
                  <a:gd name="T1" fmla="*/ 1 h 106"/>
                  <a:gd name="T2" fmla="*/ 1 w 296"/>
                  <a:gd name="T3" fmla="*/ 1 h 106"/>
                  <a:gd name="T4" fmla="*/ 1 w 296"/>
                  <a:gd name="T5" fmla="*/ 1 h 106"/>
                  <a:gd name="T6" fmla="*/ 1 w 296"/>
                  <a:gd name="T7" fmla="*/ 1 h 106"/>
                  <a:gd name="T8" fmla="*/ 1 w 296"/>
                  <a:gd name="T9" fmla="*/ 1 h 106"/>
                  <a:gd name="T10" fmla="*/ 1 w 296"/>
                  <a:gd name="T11" fmla="*/ 1 h 106"/>
                  <a:gd name="T12" fmla="*/ 1 w 296"/>
                  <a:gd name="T13" fmla="*/ 1 h 106"/>
                  <a:gd name="T14" fmla="*/ 1 w 296"/>
                  <a:gd name="T15" fmla="*/ 1 h 106"/>
                  <a:gd name="T16" fmla="*/ 1 w 296"/>
                  <a:gd name="T17" fmla="*/ 1 h 106"/>
                  <a:gd name="T18" fmla="*/ 1 w 296"/>
                  <a:gd name="T19" fmla="*/ 1 h 106"/>
                  <a:gd name="T20" fmla="*/ 1 w 296"/>
                  <a:gd name="T21" fmla="*/ 1 h 106"/>
                  <a:gd name="T22" fmla="*/ 1 w 296"/>
                  <a:gd name="T23" fmla="*/ 1 h 106"/>
                  <a:gd name="T24" fmla="*/ 1 w 296"/>
                  <a:gd name="T25" fmla="*/ 1 h 106"/>
                  <a:gd name="T26" fmla="*/ 1 w 296"/>
                  <a:gd name="T27" fmla="*/ 1 h 106"/>
                  <a:gd name="T28" fmla="*/ 1 w 296"/>
                  <a:gd name="T29" fmla="*/ 1 h 106"/>
                  <a:gd name="T30" fmla="*/ 1 w 296"/>
                  <a:gd name="T31" fmla="*/ 1 h 106"/>
                  <a:gd name="T32" fmla="*/ 1 w 296"/>
                  <a:gd name="T33" fmla="*/ 1 h 106"/>
                  <a:gd name="T34" fmla="*/ 1 w 296"/>
                  <a:gd name="T35" fmla="*/ 1 h 106"/>
                  <a:gd name="T36" fmla="*/ 1 w 296"/>
                  <a:gd name="T37" fmla="*/ 1 h 106"/>
                  <a:gd name="T38" fmla="*/ 1 w 296"/>
                  <a:gd name="T39" fmla="*/ 1 h 106"/>
                  <a:gd name="T40" fmla="*/ 1 w 296"/>
                  <a:gd name="T41" fmla="*/ 1 h 106"/>
                  <a:gd name="T42" fmla="*/ 0 w 296"/>
                  <a:gd name="T43" fmla="*/ 1 h 106"/>
                  <a:gd name="T44" fmla="*/ 1 w 296"/>
                  <a:gd name="T45" fmla="*/ 1 h 106"/>
                  <a:gd name="T46" fmla="*/ 1 w 296"/>
                  <a:gd name="T47" fmla="*/ 1 h 106"/>
                  <a:gd name="T48" fmla="*/ 1 w 296"/>
                  <a:gd name="T49" fmla="*/ 1 h 106"/>
                  <a:gd name="T50" fmla="*/ 1 w 296"/>
                  <a:gd name="T51" fmla="*/ 0 h 106"/>
                  <a:gd name="T52" fmla="*/ 1 w 296"/>
                  <a:gd name="T53" fmla="*/ 1 h 106"/>
                  <a:gd name="T54" fmla="*/ 1 w 296"/>
                  <a:gd name="T55" fmla="*/ 1 h 106"/>
                  <a:gd name="T56" fmla="*/ 1 w 296"/>
                  <a:gd name="T57" fmla="*/ 1 h 106"/>
                  <a:gd name="T58" fmla="*/ 1 w 296"/>
                  <a:gd name="T59" fmla="*/ 1 h 106"/>
                  <a:gd name="T60" fmla="*/ 1 w 296"/>
                  <a:gd name="T61" fmla="*/ 1 h 106"/>
                  <a:gd name="T62" fmla="*/ 1 w 296"/>
                  <a:gd name="T63" fmla="*/ 1 h 10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96"/>
                  <a:gd name="T97" fmla="*/ 0 h 106"/>
                  <a:gd name="T98" fmla="*/ 296 w 296"/>
                  <a:gd name="T99" fmla="*/ 106 h 10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96" h="106">
                    <a:moveTo>
                      <a:pt x="165" y="23"/>
                    </a:moveTo>
                    <a:lnTo>
                      <a:pt x="168" y="24"/>
                    </a:lnTo>
                    <a:lnTo>
                      <a:pt x="176" y="28"/>
                    </a:lnTo>
                    <a:lnTo>
                      <a:pt x="188" y="30"/>
                    </a:lnTo>
                    <a:lnTo>
                      <a:pt x="204" y="28"/>
                    </a:lnTo>
                    <a:lnTo>
                      <a:pt x="219" y="26"/>
                    </a:lnTo>
                    <a:lnTo>
                      <a:pt x="231" y="28"/>
                    </a:lnTo>
                    <a:lnTo>
                      <a:pt x="241" y="31"/>
                    </a:lnTo>
                    <a:lnTo>
                      <a:pt x="253" y="38"/>
                    </a:lnTo>
                    <a:lnTo>
                      <a:pt x="266" y="45"/>
                    </a:lnTo>
                    <a:lnTo>
                      <a:pt x="282" y="52"/>
                    </a:lnTo>
                    <a:lnTo>
                      <a:pt x="294" y="61"/>
                    </a:lnTo>
                    <a:lnTo>
                      <a:pt x="296" y="73"/>
                    </a:lnTo>
                    <a:lnTo>
                      <a:pt x="288" y="84"/>
                    </a:lnTo>
                    <a:lnTo>
                      <a:pt x="278" y="87"/>
                    </a:lnTo>
                    <a:lnTo>
                      <a:pt x="266" y="92"/>
                    </a:lnTo>
                    <a:lnTo>
                      <a:pt x="255" y="97"/>
                    </a:lnTo>
                    <a:lnTo>
                      <a:pt x="249" y="101"/>
                    </a:lnTo>
                    <a:lnTo>
                      <a:pt x="243" y="103"/>
                    </a:lnTo>
                    <a:lnTo>
                      <a:pt x="237" y="104"/>
                    </a:lnTo>
                    <a:lnTo>
                      <a:pt x="229" y="104"/>
                    </a:lnTo>
                    <a:lnTo>
                      <a:pt x="221" y="104"/>
                    </a:lnTo>
                    <a:lnTo>
                      <a:pt x="213" y="103"/>
                    </a:lnTo>
                    <a:lnTo>
                      <a:pt x="206" y="103"/>
                    </a:lnTo>
                    <a:lnTo>
                      <a:pt x="196" y="103"/>
                    </a:lnTo>
                    <a:lnTo>
                      <a:pt x="180" y="103"/>
                    </a:lnTo>
                    <a:lnTo>
                      <a:pt x="170" y="103"/>
                    </a:lnTo>
                    <a:lnTo>
                      <a:pt x="161" y="103"/>
                    </a:lnTo>
                    <a:lnTo>
                      <a:pt x="147" y="104"/>
                    </a:lnTo>
                    <a:lnTo>
                      <a:pt x="137" y="106"/>
                    </a:lnTo>
                    <a:lnTo>
                      <a:pt x="127" y="106"/>
                    </a:lnTo>
                    <a:lnTo>
                      <a:pt x="116" y="106"/>
                    </a:lnTo>
                    <a:lnTo>
                      <a:pt x="106" y="104"/>
                    </a:lnTo>
                    <a:lnTo>
                      <a:pt x="96" y="103"/>
                    </a:lnTo>
                    <a:lnTo>
                      <a:pt x="86" y="101"/>
                    </a:lnTo>
                    <a:lnTo>
                      <a:pt x="76" y="99"/>
                    </a:lnTo>
                    <a:lnTo>
                      <a:pt x="69" y="96"/>
                    </a:lnTo>
                    <a:lnTo>
                      <a:pt x="55" y="85"/>
                    </a:lnTo>
                    <a:lnTo>
                      <a:pt x="41" y="73"/>
                    </a:lnTo>
                    <a:lnTo>
                      <a:pt x="30" y="63"/>
                    </a:lnTo>
                    <a:lnTo>
                      <a:pt x="18" y="61"/>
                    </a:lnTo>
                    <a:lnTo>
                      <a:pt x="8" y="59"/>
                    </a:lnTo>
                    <a:lnTo>
                      <a:pt x="2" y="56"/>
                    </a:lnTo>
                    <a:lnTo>
                      <a:pt x="0" y="49"/>
                    </a:lnTo>
                    <a:lnTo>
                      <a:pt x="6" y="40"/>
                    </a:lnTo>
                    <a:lnTo>
                      <a:pt x="16" y="35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18" y="21"/>
                    </a:lnTo>
                    <a:lnTo>
                      <a:pt x="16" y="14"/>
                    </a:lnTo>
                    <a:lnTo>
                      <a:pt x="18" y="5"/>
                    </a:lnTo>
                    <a:lnTo>
                      <a:pt x="22" y="0"/>
                    </a:lnTo>
                    <a:lnTo>
                      <a:pt x="30" y="2"/>
                    </a:lnTo>
                    <a:lnTo>
                      <a:pt x="37" y="7"/>
                    </a:lnTo>
                    <a:lnTo>
                      <a:pt x="45" y="10"/>
                    </a:lnTo>
                    <a:lnTo>
                      <a:pt x="51" y="12"/>
                    </a:lnTo>
                    <a:lnTo>
                      <a:pt x="59" y="10"/>
                    </a:lnTo>
                    <a:lnTo>
                      <a:pt x="65" y="10"/>
                    </a:lnTo>
                    <a:lnTo>
                      <a:pt x="76" y="10"/>
                    </a:lnTo>
                    <a:lnTo>
                      <a:pt x="90" y="10"/>
                    </a:lnTo>
                    <a:lnTo>
                      <a:pt x="106" y="10"/>
                    </a:lnTo>
                    <a:lnTo>
                      <a:pt x="121" y="12"/>
                    </a:lnTo>
                    <a:lnTo>
                      <a:pt x="139" y="16"/>
                    </a:lnTo>
                    <a:lnTo>
                      <a:pt x="153" y="19"/>
                    </a:lnTo>
                    <a:lnTo>
                      <a:pt x="165" y="23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78" name="Freeform 37"/>
              <p:cNvSpPr>
                <a:spLocks/>
              </p:cNvSpPr>
              <p:nvPr/>
            </p:nvSpPr>
            <p:spPr bwMode="auto">
              <a:xfrm>
                <a:off x="4148" y="3663"/>
                <a:ext cx="88" cy="39"/>
              </a:xfrm>
              <a:custGeom>
                <a:avLst/>
                <a:gdLst>
                  <a:gd name="T0" fmla="*/ 1 w 127"/>
                  <a:gd name="T1" fmla="*/ 1 h 64"/>
                  <a:gd name="T2" fmla="*/ 1 w 127"/>
                  <a:gd name="T3" fmla="*/ 1 h 64"/>
                  <a:gd name="T4" fmla="*/ 1 w 127"/>
                  <a:gd name="T5" fmla="*/ 1 h 64"/>
                  <a:gd name="T6" fmla="*/ 1 w 127"/>
                  <a:gd name="T7" fmla="*/ 1 h 64"/>
                  <a:gd name="T8" fmla="*/ 1 w 127"/>
                  <a:gd name="T9" fmla="*/ 1 h 64"/>
                  <a:gd name="T10" fmla="*/ 1 w 127"/>
                  <a:gd name="T11" fmla="*/ 1 h 64"/>
                  <a:gd name="T12" fmla="*/ 1 w 127"/>
                  <a:gd name="T13" fmla="*/ 1 h 64"/>
                  <a:gd name="T14" fmla="*/ 1 w 127"/>
                  <a:gd name="T15" fmla="*/ 1 h 64"/>
                  <a:gd name="T16" fmla="*/ 1 w 127"/>
                  <a:gd name="T17" fmla="*/ 1 h 64"/>
                  <a:gd name="T18" fmla="*/ 1 w 127"/>
                  <a:gd name="T19" fmla="*/ 1 h 64"/>
                  <a:gd name="T20" fmla="*/ 1 w 127"/>
                  <a:gd name="T21" fmla="*/ 1 h 64"/>
                  <a:gd name="T22" fmla="*/ 1 w 127"/>
                  <a:gd name="T23" fmla="*/ 0 h 64"/>
                  <a:gd name="T24" fmla="*/ 1 w 127"/>
                  <a:gd name="T25" fmla="*/ 1 h 64"/>
                  <a:gd name="T26" fmla="*/ 0 w 127"/>
                  <a:gd name="T27" fmla="*/ 1 h 64"/>
                  <a:gd name="T28" fmla="*/ 1 w 127"/>
                  <a:gd name="T29" fmla="*/ 1 h 64"/>
                  <a:gd name="T30" fmla="*/ 1 w 127"/>
                  <a:gd name="T31" fmla="*/ 1 h 64"/>
                  <a:gd name="T32" fmla="*/ 1 w 127"/>
                  <a:gd name="T33" fmla="*/ 1 h 64"/>
                  <a:gd name="T34" fmla="*/ 1 w 127"/>
                  <a:gd name="T35" fmla="*/ 1 h 64"/>
                  <a:gd name="T36" fmla="*/ 1 w 127"/>
                  <a:gd name="T37" fmla="*/ 1 h 64"/>
                  <a:gd name="T38" fmla="*/ 1 w 127"/>
                  <a:gd name="T39" fmla="*/ 1 h 64"/>
                  <a:gd name="T40" fmla="*/ 1 w 127"/>
                  <a:gd name="T41" fmla="*/ 1 h 64"/>
                  <a:gd name="T42" fmla="*/ 1 w 127"/>
                  <a:gd name="T43" fmla="*/ 1 h 64"/>
                  <a:gd name="T44" fmla="*/ 1 w 127"/>
                  <a:gd name="T45" fmla="*/ 1 h 64"/>
                  <a:gd name="T46" fmla="*/ 1 w 127"/>
                  <a:gd name="T47" fmla="*/ 1 h 64"/>
                  <a:gd name="T48" fmla="*/ 1 w 127"/>
                  <a:gd name="T49" fmla="*/ 1 h 64"/>
                  <a:gd name="T50" fmla="*/ 1 w 127"/>
                  <a:gd name="T51" fmla="*/ 1 h 64"/>
                  <a:gd name="T52" fmla="*/ 1 w 127"/>
                  <a:gd name="T53" fmla="*/ 1 h 64"/>
                  <a:gd name="T54" fmla="*/ 1 w 127"/>
                  <a:gd name="T55" fmla="*/ 1 h 64"/>
                  <a:gd name="T56" fmla="*/ 1 w 127"/>
                  <a:gd name="T57" fmla="*/ 1 h 6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27"/>
                  <a:gd name="T88" fmla="*/ 0 h 64"/>
                  <a:gd name="T89" fmla="*/ 127 w 127"/>
                  <a:gd name="T90" fmla="*/ 64 h 64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27" h="64">
                    <a:moveTo>
                      <a:pt x="127" y="64"/>
                    </a:moveTo>
                    <a:lnTo>
                      <a:pt x="127" y="63"/>
                    </a:lnTo>
                    <a:lnTo>
                      <a:pt x="125" y="56"/>
                    </a:lnTo>
                    <a:lnTo>
                      <a:pt x="118" y="47"/>
                    </a:lnTo>
                    <a:lnTo>
                      <a:pt x="102" y="35"/>
                    </a:lnTo>
                    <a:lnTo>
                      <a:pt x="82" y="24"/>
                    </a:lnTo>
                    <a:lnTo>
                      <a:pt x="73" y="19"/>
                    </a:lnTo>
                    <a:lnTo>
                      <a:pt x="63" y="14"/>
                    </a:lnTo>
                    <a:lnTo>
                      <a:pt x="55" y="11"/>
                    </a:lnTo>
                    <a:lnTo>
                      <a:pt x="43" y="5"/>
                    </a:lnTo>
                    <a:lnTo>
                      <a:pt x="32" y="2"/>
                    </a:lnTo>
                    <a:lnTo>
                      <a:pt x="20" y="0"/>
                    </a:lnTo>
                    <a:lnTo>
                      <a:pt x="6" y="2"/>
                    </a:lnTo>
                    <a:lnTo>
                      <a:pt x="0" y="9"/>
                    </a:lnTo>
                    <a:lnTo>
                      <a:pt x="4" y="17"/>
                    </a:lnTo>
                    <a:lnTo>
                      <a:pt x="14" y="24"/>
                    </a:lnTo>
                    <a:lnTo>
                      <a:pt x="26" y="28"/>
                    </a:lnTo>
                    <a:lnTo>
                      <a:pt x="35" y="28"/>
                    </a:lnTo>
                    <a:lnTo>
                      <a:pt x="43" y="30"/>
                    </a:lnTo>
                    <a:lnTo>
                      <a:pt x="49" y="33"/>
                    </a:lnTo>
                    <a:lnTo>
                      <a:pt x="57" y="40"/>
                    </a:lnTo>
                    <a:lnTo>
                      <a:pt x="65" y="44"/>
                    </a:lnTo>
                    <a:lnTo>
                      <a:pt x="75" y="44"/>
                    </a:lnTo>
                    <a:lnTo>
                      <a:pt x="82" y="44"/>
                    </a:lnTo>
                    <a:lnTo>
                      <a:pt x="90" y="49"/>
                    </a:lnTo>
                    <a:lnTo>
                      <a:pt x="102" y="58"/>
                    </a:lnTo>
                    <a:lnTo>
                      <a:pt x="114" y="61"/>
                    </a:lnTo>
                    <a:lnTo>
                      <a:pt x="124" y="64"/>
                    </a:lnTo>
                    <a:lnTo>
                      <a:pt x="127" y="64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79" name="Freeform 38"/>
              <p:cNvSpPr>
                <a:spLocks/>
              </p:cNvSpPr>
              <p:nvPr/>
            </p:nvSpPr>
            <p:spPr bwMode="auto">
              <a:xfrm>
                <a:off x="4091" y="3810"/>
                <a:ext cx="82" cy="39"/>
              </a:xfrm>
              <a:custGeom>
                <a:avLst/>
                <a:gdLst>
                  <a:gd name="T0" fmla="*/ 1 w 119"/>
                  <a:gd name="T1" fmla="*/ 1 h 64"/>
                  <a:gd name="T2" fmla="*/ 1 w 119"/>
                  <a:gd name="T3" fmla="*/ 1 h 64"/>
                  <a:gd name="T4" fmla="*/ 1 w 119"/>
                  <a:gd name="T5" fmla="*/ 1 h 64"/>
                  <a:gd name="T6" fmla="*/ 1 w 119"/>
                  <a:gd name="T7" fmla="*/ 1 h 64"/>
                  <a:gd name="T8" fmla="*/ 1 w 119"/>
                  <a:gd name="T9" fmla="*/ 1 h 64"/>
                  <a:gd name="T10" fmla="*/ 1 w 119"/>
                  <a:gd name="T11" fmla="*/ 1 h 64"/>
                  <a:gd name="T12" fmla="*/ 1 w 119"/>
                  <a:gd name="T13" fmla="*/ 1 h 64"/>
                  <a:gd name="T14" fmla="*/ 1 w 119"/>
                  <a:gd name="T15" fmla="*/ 0 h 64"/>
                  <a:gd name="T16" fmla="*/ 1 w 119"/>
                  <a:gd name="T17" fmla="*/ 1 h 64"/>
                  <a:gd name="T18" fmla="*/ 1 w 119"/>
                  <a:gd name="T19" fmla="*/ 1 h 64"/>
                  <a:gd name="T20" fmla="*/ 1 w 119"/>
                  <a:gd name="T21" fmla="*/ 1 h 64"/>
                  <a:gd name="T22" fmla="*/ 1 w 119"/>
                  <a:gd name="T23" fmla="*/ 1 h 64"/>
                  <a:gd name="T24" fmla="*/ 1 w 119"/>
                  <a:gd name="T25" fmla="*/ 1 h 64"/>
                  <a:gd name="T26" fmla="*/ 1 w 119"/>
                  <a:gd name="T27" fmla="*/ 1 h 64"/>
                  <a:gd name="T28" fmla="*/ 1 w 119"/>
                  <a:gd name="T29" fmla="*/ 1 h 64"/>
                  <a:gd name="T30" fmla="*/ 0 w 119"/>
                  <a:gd name="T31" fmla="*/ 1 h 64"/>
                  <a:gd name="T32" fmla="*/ 1 w 119"/>
                  <a:gd name="T33" fmla="*/ 1 h 64"/>
                  <a:gd name="T34" fmla="*/ 1 w 119"/>
                  <a:gd name="T35" fmla="*/ 1 h 64"/>
                  <a:gd name="T36" fmla="*/ 1 w 119"/>
                  <a:gd name="T37" fmla="*/ 1 h 64"/>
                  <a:gd name="T38" fmla="*/ 1 w 119"/>
                  <a:gd name="T39" fmla="*/ 1 h 64"/>
                  <a:gd name="T40" fmla="*/ 1 w 119"/>
                  <a:gd name="T41" fmla="*/ 1 h 64"/>
                  <a:gd name="T42" fmla="*/ 1 w 119"/>
                  <a:gd name="T43" fmla="*/ 1 h 64"/>
                  <a:gd name="T44" fmla="*/ 1 w 119"/>
                  <a:gd name="T45" fmla="*/ 1 h 64"/>
                  <a:gd name="T46" fmla="*/ 1 w 119"/>
                  <a:gd name="T47" fmla="*/ 1 h 64"/>
                  <a:gd name="T48" fmla="*/ 1 w 119"/>
                  <a:gd name="T49" fmla="*/ 1 h 64"/>
                  <a:gd name="T50" fmla="*/ 1 w 119"/>
                  <a:gd name="T51" fmla="*/ 1 h 64"/>
                  <a:gd name="T52" fmla="*/ 1 w 119"/>
                  <a:gd name="T53" fmla="*/ 1 h 64"/>
                  <a:gd name="T54" fmla="*/ 1 w 119"/>
                  <a:gd name="T55" fmla="*/ 1 h 64"/>
                  <a:gd name="T56" fmla="*/ 1 w 119"/>
                  <a:gd name="T57" fmla="*/ 1 h 64"/>
                  <a:gd name="T58" fmla="*/ 1 w 119"/>
                  <a:gd name="T59" fmla="*/ 1 h 64"/>
                  <a:gd name="T60" fmla="*/ 1 w 119"/>
                  <a:gd name="T61" fmla="*/ 1 h 64"/>
                  <a:gd name="T62" fmla="*/ 1 w 119"/>
                  <a:gd name="T63" fmla="*/ 1 h 64"/>
                  <a:gd name="T64" fmla="*/ 1 w 119"/>
                  <a:gd name="T65" fmla="*/ 1 h 6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19"/>
                  <a:gd name="T100" fmla="*/ 0 h 64"/>
                  <a:gd name="T101" fmla="*/ 119 w 119"/>
                  <a:gd name="T102" fmla="*/ 64 h 6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19" h="64">
                    <a:moveTo>
                      <a:pt x="119" y="8"/>
                    </a:moveTo>
                    <a:lnTo>
                      <a:pt x="117" y="10"/>
                    </a:lnTo>
                    <a:lnTo>
                      <a:pt x="112" y="12"/>
                    </a:lnTo>
                    <a:lnTo>
                      <a:pt x="104" y="13"/>
                    </a:lnTo>
                    <a:lnTo>
                      <a:pt x="94" y="12"/>
                    </a:lnTo>
                    <a:lnTo>
                      <a:pt x="84" y="6"/>
                    </a:lnTo>
                    <a:lnTo>
                      <a:pt x="72" y="1"/>
                    </a:lnTo>
                    <a:lnTo>
                      <a:pt x="61" y="0"/>
                    </a:lnTo>
                    <a:lnTo>
                      <a:pt x="51" y="1"/>
                    </a:lnTo>
                    <a:lnTo>
                      <a:pt x="43" y="6"/>
                    </a:lnTo>
                    <a:lnTo>
                      <a:pt x="33" y="10"/>
                    </a:lnTo>
                    <a:lnTo>
                      <a:pt x="25" y="13"/>
                    </a:lnTo>
                    <a:lnTo>
                      <a:pt x="18" y="17"/>
                    </a:lnTo>
                    <a:lnTo>
                      <a:pt x="10" y="19"/>
                    </a:lnTo>
                    <a:lnTo>
                      <a:pt x="2" y="22"/>
                    </a:lnTo>
                    <a:lnTo>
                      <a:pt x="0" y="27"/>
                    </a:lnTo>
                    <a:lnTo>
                      <a:pt x="4" y="31"/>
                    </a:lnTo>
                    <a:lnTo>
                      <a:pt x="10" y="36"/>
                    </a:lnTo>
                    <a:lnTo>
                      <a:pt x="12" y="43"/>
                    </a:lnTo>
                    <a:lnTo>
                      <a:pt x="10" y="50"/>
                    </a:lnTo>
                    <a:lnTo>
                      <a:pt x="8" y="55"/>
                    </a:lnTo>
                    <a:lnTo>
                      <a:pt x="10" y="60"/>
                    </a:lnTo>
                    <a:lnTo>
                      <a:pt x="18" y="64"/>
                    </a:lnTo>
                    <a:lnTo>
                      <a:pt x="29" y="64"/>
                    </a:lnTo>
                    <a:lnTo>
                      <a:pt x="41" y="60"/>
                    </a:lnTo>
                    <a:lnTo>
                      <a:pt x="55" y="59"/>
                    </a:lnTo>
                    <a:lnTo>
                      <a:pt x="67" y="59"/>
                    </a:lnTo>
                    <a:lnTo>
                      <a:pt x="78" y="59"/>
                    </a:lnTo>
                    <a:lnTo>
                      <a:pt x="88" y="55"/>
                    </a:lnTo>
                    <a:lnTo>
                      <a:pt x="100" y="48"/>
                    </a:lnTo>
                    <a:lnTo>
                      <a:pt x="110" y="38"/>
                    </a:lnTo>
                    <a:lnTo>
                      <a:pt x="117" y="24"/>
                    </a:lnTo>
                    <a:lnTo>
                      <a:pt x="119" y="8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80" name="Freeform 39"/>
              <p:cNvSpPr>
                <a:spLocks/>
              </p:cNvSpPr>
              <p:nvPr/>
            </p:nvSpPr>
            <p:spPr bwMode="auto">
              <a:xfrm>
                <a:off x="4240" y="3747"/>
                <a:ext cx="321" cy="53"/>
              </a:xfrm>
              <a:custGeom>
                <a:avLst/>
                <a:gdLst>
                  <a:gd name="T0" fmla="*/ 1 w 462"/>
                  <a:gd name="T1" fmla="*/ 1 h 89"/>
                  <a:gd name="T2" fmla="*/ 1 w 462"/>
                  <a:gd name="T3" fmla="*/ 1 h 89"/>
                  <a:gd name="T4" fmla="*/ 1 w 462"/>
                  <a:gd name="T5" fmla="*/ 1 h 89"/>
                  <a:gd name="T6" fmla="*/ 1 w 462"/>
                  <a:gd name="T7" fmla="*/ 1 h 89"/>
                  <a:gd name="T8" fmla="*/ 1 w 462"/>
                  <a:gd name="T9" fmla="*/ 1 h 89"/>
                  <a:gd name="T10" fmla="*/ 1 w 462"/>
                  <a:gd name="T11" fmla="*/ 1 h 89"/>
                  <a:gd name="T12" fmla="*/ 1 w 462"/>
                  <a:gd name="T13" fmla="*/ 1 h 89"/>
                  <a:gd name="T14" fmla="*/ 1 w 462"/>
                  <a:gd name="T15" fmla="*/ 1 h 89"/>
                  <a:gd name="T16" fmla="*/ 1 w 462"/>
                  <a:gd name="T17" fmla="*/ 1 h 89"/>
                  <a:gd name="T18" fmla="*/ 1 w 462"/>
                  <a:gd name="T19" fmla="*/ 1 h 89"/>
                  <a:gd name="T20" fmla="*/ 1 w 462"/>
                  <a:gd name="T21" fmla="*/ 1 h 89"/>
                  <a:gd name="T22" fmla="*/ 1 w 462"/>
                  <a:gd name="T23" fmla="*/ 1 h 89"/>
                  <a:gd name="T24" fmla="*/ 1 w 462"/>
                  <a:gd name="T25" fmla="*/ 1 h 89"/>
                  <a:gd name="T26" fmla="*/ 1 w 462"/>
                  <a:gd name="T27" fmla="*/ 1 h 89"/>
                  <a:gd name="T28" fmla="*/ 1 w 462"/>
                  <a:gd name="T29" fmla="*/ 1 h 89"/>
                  <a:gd name="T30" fmla="*/ 1 w 462"/>
                  <a:gd name="T31" fmla="*/ 1 h 89"/>
                  <a:gd name="T32" fmla="*/ 1 w 462"/>
                  <a:gd name="T33" fmla="*/ 1 h 89"/>
                  <a:gd name="T34" fmla="*/ 1 w 462"/>
                  <a:gd name="T35" fmla="*/ 1 h 89"/>
                  <a:gd name="T36" fmla="*/ 1 w 462"/>
                  <a:gd name="T37" fmla="*/ 1 h 89"/>
                  <a:gd name="T38" fmla="*/ 1 w 462"/>
                  <a:gd name="T39" fmla="*/ 1 h 89"/>
                  <a:gd name="T40" fmla="*/ 1 w 462"/>
                  <a:gd name="T41" fmla="*/ 1 h 89"/>
                  <a:gd name="T42" fmla="*/ 1 w 462"/>
                  <a:gd name="T43" fmla="*/ 1 h 89"/>
                  <a:gd name="T44" fmla="*/ 1 w 462"/>
                  <a:gd name="T45" fmla="*/ 1 h 89"/>
                  <a:gd name="T46" fmla="*/ 1 w 462"/>
                  <a:gd name="T47" fmla="*/ 1 h 89"/>
                  <a:gd name="T48" fmla="*/ 1 w 462"/>
                  <a:gd name="T49" fmla="*/ 1 h 89"/>
                  <a:gd name="T50" fmla="*/ 1 w 462"/>
                  <a:gd name="T51" fmla="*/ 1 h 89"/>
                  <a:gd name="T52" fmla="*/ 1 w 462"/>
                  <a:gd name="T53" fmla="*/ 1 h 89"/>
                  <a:gd name="T54" fmla="*/ 1 w 462"/>
                  <a:gd name="T55" fmla="*/ 1 h 89"/>
                  <a:gd name="T56" fmla="*/ 1 w 462"/>
                  <a:gd name="T57" fmla="*/ 1 h 89"/>
                  <a:gd name="T58" fmla="*/ 1 w 462"/>
                  <a:gd name="T59" fmla="*/ 1 h 89"/>
                  <a:gd name="T60" fmla="*/ 1 w 462"/>
                  <a:gd name="T61" fmla="*/ 1 h 89"/>
                  <a:gd name="T62" fmla="*/ 1 w 462"/>
                  <a:gd name="T63" fmla="*/ 1 h 89"/>
                  <a:gd name="T64" fmla="*/ 1 w 462"/>
                  <a:gd name="T65" fmla="*/ 1 h 89"/>
                  <a:gd name="T66" fmla="*/ 1 w 462"/>
                  <a:gd name="T67" fmla="*/ 1 h 89"/>
                  <a:gd name="T68" fmla="*/ 1 w 462"/>
                  <a:gd name="T69" fmla="*/ 1 h 89"/>
                  <a:gd name="T70" fmla="*/ 1 w 462"/>
                  <a:gd name="T71" fmla="*/ 1 h 89"/>
                  <a:gd name="T72" fmla="*/ 1 w 462"/>
                  <a:gd name="T73" fmla="*/ 1 h 89"/>
                  <a:gd name="T74" fmla="*/ 1 w 462"/>
                  <a:gd name="T75" fmla="*/ 1 h 89"/>
                  <a:gd name="T76" fmla="*/ 1 w 462"/>
                  <a:gd name="T77" fmla="*/ 1 h 89"/>
                  <a:gd name="T78" fmla="*/ 1 w 462"/>
                  <a:gd name="T79" fmla="*/ 1 h 89"/>
                  <a:gd name="T80" fmla="*/ 1 w 462"/>
                  <a:gd name="T81" fmla="*/ 1 h 89"/>
                  <a:gd name="T82" fmla="*/ 1 w 462"/>
                  <a:gd name="T83" fmla="*/ 1 h 89"/>
                  <a:gd name="T84" fmla="*/ 1 w 462"/>
                  <a:gd name="T85" fmla="*/ 1 h 89"/>
                  <a:gd name="T86" fmla="*/ 1 w 462"/>
                  <a:gd name="T87" fmla="*/ 1 h 89"/>
                  <a:gd name="T88" fmla="*/ 1 w 462"/>
                  <a:gd name="T89" fmla="*/ 1 h 89"/>
                  <a:gd name="T90" fmla="*/ 1 w 462"/>
                  <a:gd name="T91" fmla="*/ 0 h 89"/>
                  <a:gd name="T92" fmla="*/ 1 w 462"/>
                  <a:gd name="T93" fmla="*/ 1 h 89"/>
                  <a:gd name="T94" fmla="*/ 1 w 462"/>
                  <a:gd name="T95" fmla="*/ 1 h 8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462"/>
                  <a:gd name="T145" fmla="*/ 0 h 89"/>
                  <a:gd name="T146" fmla="*/ 462 w 462"/>
                  <a:gd name="T147" fmla="*/ 89 h 89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462" h="89">
                    <a:moveTo>
                      <a:pt x="88" y="33"/>
                    </a:moveTo>
                    <a:lnTo>
                      <a:pt x="86" y="33"/>
                    </a:lnTo>
                    <a:lnTo>
                      <a:pt x="82" y="32"/>
                    </a:lnTo>
                    <a:lnTo>
                      <a:pt x="77" y="28"/>
                    </a:lnTo>
                    <a:lnTo>
                      <a:pt x="69" y="25"/>
                    </a:lnTo>
                    <a:lnTo>
                      <a:pt x="63" y="23"/>
                    </a:lnTo>
                    <a:lnTo>
                      <a:pt x="57" y="21"/>
                    </a:lnTo>
                    <a:lnTo>
                      <a:pt x="49" y="21"/>
                    </a:lnTo>
                    <a:lnTo>
                      <a:pt x="39" y="19"/>
                    </a:lnTo>
                    <a:lnTo>
                      <a:pt x="32" y="19"/>
                    </a:lnTo>
                    <a:lnTo>
                      <a:pt x="24" y="21"/>
                    </a:lnTo>
                    <a:lnTo>
                      <a:pt x="16" y="23"/>
                    </a:lnTo>
                    <a:lnTo>
                      <a:pt x="10" y="25"/>
                    </a:lnTo>
                    <a:lnTo>
                      <a:pt x="2" y="30"/>
                    </a:lnTo>
                    <a:lnTo>
                      <a:pt x="0" y="37"/>
                    </a:lnTo>
                    <a:lnTo>
                      <a:pt x="4" y="44"/>
                    </a:lnTo>
                    <a:lnTo>
                      <a:pt x="18" y="47"/>
                    </a:lnTo>
                    <a:lnTo>
                      <a:pt x="32" y="49"/>
                    </a:lnTo>
                    <a:lnTo>
                      <a:pt x="39" y="53"/>
                    </a:lnTo>
                    <a:lnTo>
                      <a:pt x="45" y="56"/>
                    </a:lnTo>
                    <a:lnTo>
                      <a:pt x="57" y="61"/>
                    </a:lnTo>
                    <a:lnTo>
                      <a:pt x="65" y="63"/>
                    </a:lnTo>
                    <a:lnTo>
                      <a:pt x="71" y="65"/>
                    </a:lnTo>
                    <a:lnTo>
                      <a:pt x="79" y="66"/>
                    </a:lnTo>
                    <a:lnTo>
                      <a:pt x="86" y="66"/>
                    </a:lnTo>
                    <a:lnTo>
                      <a:pt x="94" y="68"/>
                    </a:lnTo>
                    <a:lnTo>
                      <a:pt x="104" y="68"/>
                    </a:lnTo>
                    <a:lnTo>
                      <a:pt x="114" y="70"/>
                    </a:lnTo>
                    <a:lnTo>
                      <a:pt x="124" y="72"/>
                    </a:lnTo>
                    <a:lnTo>
                      <a:pt x="135" y="73"/>
                    </a:lnTo>
                    <a:lnTo>
                      <a:pt x="147" y="77"/>
                    </a:lnTo>
                    <a:lnTo>
                      <a:pt x="159" y="79"/>
                    </a:lnTo>
                    <a:lnTo>
                      <a:pt x="169" y="82"/>
                    </a:lnTo>
                    <a:lnTo>
                      <a:pt x="180" y="84"/>
                    </a:lnTo>
                    <a:lnTo>
                      <a:pt x="194" y="86"/>
                    </a:lnTo>
                    <a:lnTo>
                      <a:pt x="206" y="86"/>
                    </a:lnTo>
                    <a:lnTo>
                      <a:pt x="219" y="84"/>
                    </a:lnTo>
                    <a:lnTo>
                      <a:pt x="233" y="82"/>
                    </a:lnTo>
                    <a:lnTo>
                      <a:pt x="247" y="82"/>
                    </a:lnTo>
                    <a:lnTo>
                      <a:pt x="263" y="82"/>
                    </a:lnTo>
                    <a:lnTo>
                      <a:pt x="278" y="84"/>
                    </a:lnTo>
                    <a:lnTo>
                      <a:pt x="294" y="84"/>
                    </a:lnTo>
                    <a:lnTo>
                      <a:pt x="308" y="86"/>
                    </a:lnTo>
                    <a:lnTo>
                      <a:pt x="321" y="87"/>
                    </a:lnTo>
                    <a:lnTo>
                      <a:pt x="335" y="89"/>
                    </a:lnTo>
                    <a:lnTo>
                      <a:pt x="347" y="89"/>
                    </a:lnTo>
                    <a:lnTo>
                      <a:pt x="360" y="89"/>
                    </a:lnTo>
                    <a:lnTo>
                      <a:pt x="372" y="89"/>
                    </a:lnTo>
                    <a:lnTo>
                      <a:pt x="384" y="87"/>
                    </a:lnTo>
                    <a:lnTo>
                      <a:pt x="396" y="87"/>
                    </a:lnTo>
                    <a:lnTo>
                      <a:pt x="407" y="86"/>
                    </a:lnTo>
                    <a:lnTo>
                      <a:pt x="417" y="86"/>
                    </a:lnTo>
                    <a:lnTo>
                      <a:pt x="427" y="86"/>
                    </a:lnTo>
                    <a:lnTo>
                      <a:pt x="446" y="84"/>
                    </a:lnTo>
                    <a:lnTo>
                      <a:pt x="460" y="79"/>
                    </a:lnTo>
                    <a:lnTo>
                      <a:pt x="462" y="73"/>
                    </a:lnTo>
                    <a:lnTo>
                      <a:pt x="446" y="72"/>
                    </a:lnTo>
                    <a:lnTo>
                      <a:pt x="433" y="72"/>
                    </a:lnTo>
                    <a:lnTo>
                      <a:pt x="419" y="70"/>
                    </a:lnTo>
                    <a:lnTo>
                      <a:pt x="403" y="70"/>
                    </a:lnTo>
                    <a:lnTo>
                      <a:pt x="390" y="68"/>
                    </a:lnTo>
                    <a:lnTo>
                      <a:pt x="374" y="66"/>
                    </a:lnTo>
                    <a:lnTo>
                      <a:pt x="356" y="65"/>
                    </a:lnTo>
                    <a:lnTo>
                      <a:pt x="341" y="63"/>
                    </a:lnTo>
                    <a:lnTo>
                      <a:pt x="325" y="61"/>
                    </a:lnTo>
                    <a:lnTo>
                      <a:pt x="309" y="60"/>
                    </a:lnTo>
                    <a:lnTo>
                      <a:pt x="296" y="58"/>
                    </a:lnTo>
                    <a:lnTo>
                      <a:pt x="284" y="56"/>
                    </a:lnTo>
                    <a:lnTo>
                      <a:pt x="274" y="56"/>
                    </a:lnTo>
                    <a:lnTo>
                      <a:pt x="264" y="54"/>
                    </a:lnTo>
                    <a:lnTo>
                      <a:pt x="257" y="54"/>
                    </a:lnTo>
                    <a:lnTo>
                      <a:pt x="249" y="54"/>
                    </a:lnTo>
                    <a:lnTo>
                      <a:pt x="241" y="54"/>
                    </a:lnTo>
                    <a:lnTo>
                      <a:pt x="233" y="54"/>
                    </a:lnTo>
                    <a:lnTo>
                      <a:pt x="225" y="54"/>
                    </a:lnTo>
                    <a:lnTo>
                      <a:pt x="216" y="54"/>
                    </a:lnTo>
                    <a:lnTo>
                      <a:pt x="206" y="54"/>
                    </a:lnTo>
                    <a:lnTo>
                      <a:pt x="198" y="54"/>
                    </a:lnTo>
                    <a:lnTo>
                      <a:pt x="190" y="54"/>
                    </a:lnTo>
                    <a:lnTo>
                      <a:pt x="184" y="53"/>
                    </a:lnTo>
                    <a:lnTo>
                      <a:pt x="180" y="51"/>
                    </a:lnTo>
                    <a:lnTo>
                      <a:pt x="176" y="46"/>
                    </a:lnTo>
                    <a:lnTo>
                      <a:pt x="174" y="37"/>
                    </a:lnTo>
                    <a:lnTo>
                      <a:pt x="172" y="28"/>
                    </a:lnTo>
                    <a:lnTo>
                      <a:pt x="161" y="19"/>
                    </a:lnTo>
                    <a:lnTo>
                      <a:pt x="147" y="14"/>
                    </a:lnTo>
                    <a:lnTo>
                      <a:pt x="137" y="11"/>
                    </a:lnTo>
                    <a:lnTo>
                      <a:pt x="129" y="9"/>
                    </a:lnTo>
                    <a:lnTo>
                      <a:pt x="118" y="9"/>
                    </a:lnTo>
                    <a:lnTo>
                      <a:pt x="104" y="7"/>
                    </a:lnTo>
                    <a:lnTo>
                      <a:pt x="90" y="2"/>
                    </a:lnTo>
                    <a:lnTo>
                      <a:pt x="81" y="0"/>
                    </a:lnTo>
                    <a:lnTo>
                      <a:pt x="81" y="4"/>
                    </a:lnTo>
                    <a:lnTo>
                      <a:pt x="86" y="14"/>
                    </a:lnTo>
                    <a:lnTo>
                      <a:pt x="90" y="23"/>
                    </a:lnTo>
                    <a:lnTo>
                      <a:pt x="92" y="30"/>
                    </a:lnTo>
                    <a:lnTo>
                      <a:pt x="88" y="33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81" name="Freeform 40"/>
              <p:cNvSpPr>
                <a:spLocks/>
              </p:cNvSpPr>
              <p:nvPr/>
            </p:nvSpPr>
            <p:spPr bwMode="auto">
              <a:xfrm>
                <a:off x="4343" y="3857"/>
                <a:ext cx="229" cy="38"/>
              </a:xfrm>
              <a:custGeom>
                <a:avLst/>
                <a:gdLst>
                  <a:gd name="T0" fmla="*/ 1 w 331"/>
                  <a:gd name="T1" fmla="*/ 1 h 64"/>
                  <a:gd name="T2" fmla="*/ 1 w 331"/>
                  <a:gd name="T3" fmla="*/ 1 h 64"/>
                  <a:gd name="T4" fmla="*/ 1 w 331"/>
                  <a:gd name="T5" fmla="*/ 1 h 64"/>
                  <a:gd name="T6" fmla="*/ 1 w 331"/>
                  <a:gd name="T7" fmla="*/ 1 h 64"/>
                  <a:gd name="T8" fmla="*/ 1 w 331"/>
                  <a:gd name="T9" fmla="*/ 1 h 64"/>
                  <a:gd name="T10" fmla="*/ 1 w 331"/>
                  <a:gd name="T11" fmla="*/ 1 h 64"/>
                  <a:gd name="T12" fmla="*/ 1 w 331"/>
                  <a:gd name="T13" fmla="*/ 1 h 64"/>
                  <a:gd name="T14" fmla="*/ 1 w 331"/>
                  <a:gd name="T15" fmla="*/ 1 h 64"/>
                  <a:gd name="T16" fmla="*/ 1 w 331"/>
                  <a:gd name="T17" fmla="*/ 1 h 64"/>
                  <a:gd name="T18" fmla="*/ 1 w 331"/>
                  <a:gd name="T19" fmla="*/ 1 h 64"/>
                  <a:gd name="T20" fmla="*/ 1 w 331"/>
                  <a:gd name="T21" fmla="*/ 1 h 64"/>
                  <a:gd name="T22" fmla="*/ 1 w 331"/>
                  <a:gd name="T23" fmla="*/ 1 h 64"/>
                  <a:gd name="T24" fmla="*/ 1 w 331"/>
                  <a:gd name="T25" fmla="*/ 1 h 64"/>
                  <a:gd name="T26" fmla="*/ 1 w 331"/>
                  <a:gd name="T27" fmla="*/ 1 h 64"/>
                  <a:gd name="T28" fmla="*/ 1 w 331"/>
                  <a:gd name="T29" fmla="*/ 1 h 64"/>
                  <a:gd name="T30" fmla="*/ 1 w 331"/>
                  <a:gd name="T31" fmla="*/ 1 h 64"/>
                  <a:gd name="T32" fmla="*/ 1 w 331"/>
                  <a:gd name="T33" fmla="*/ 1 h 64"/>
                  <a:gd name="T34" fmla="*/ 1 w 331"/>
                  <a:gd name="T35" fmla="*/ 1 h 64"/>
                  <a:gd name="T36" fmla="*/ 1 w 331"/>
                  <a:gd name="T37" fmla="*/ 1 h 64"/>
                  <a:gd name="T38" fmla="*/ 1 w 331"/>
                  <a:gd name="T39" fmla="*/ 1 h 64"/>
                  <a:gd name="T40" fmla="*/ 1 w 331"/>
                  <a:gd name="T41" fmla="*/ 1 h 64"/>
                  <a:gd name="T42" fmla="*/ 1 w 331"/>
                  <a:gd name="T43" fmla="*/ 1 h 64"/>
                  <a:gd name="T44" fmla="*/ 1 w 331"/>
                  <a:gd name="T45" fmla="*/ 1 h 64"/>
                  <a:gd name="T46" fmla="*/ 1 w 331"/>
                  <a:gd name="T47" fmla="*/ 1 h 64"/>
                  <a:gd name="T48" fmla="*/ 1 w 331"/>
                  <a:gd name="T49" fmla="*/ 1 h 64"/>
                  <a:gd name="T50" fmla="*/ 1 w 331"/>
                  <a:gd name="T51" fmla="*/ 1 h 64"/>
                  <a:gd name="T52" fmla="*/ 1 w 331"/>
                  <a:gd name="T53" fmla="*/ 1 h 64"/>
                  <a:gd name="T54" fmla="*/ 1 w 331"/>
                  <a:gd name="T55" fmla="*/ 0 h 64"/>
                  <a:gd name="T56" fmla="*/ 1 w 331"/>
                  <a:gd name="T57" fmla="*/ 1 h 64"/>
                  <a:gd name="T58" fmla="*/ 1 w 331"/>
                  <a:gd name="T59" fmla="*/ 1 h 64"/>
                  <a:gd name="T60" fmla="*/ 1 w 331"/>
                  <a:gd name="T61" fmla="*/ 1 h 64"/>
                  <a:gd name="T62" fmla="*/ 1 w 331"/>
                  <a:gd name="T63" fmla="*/ 1 h 64"/>
                  <a:gd name="T64" fmla="*/ 1 w 331"/>
                  <a:gd name="T65" fmla="*/ 1 h 64"/>
                  <a:gd name="T66" fmla="*/ 1 w 331"/>
                  <a:gd name="T67" fmla="*/ 1 h 64"/>
                  <a:gd name="T68" fmla="*/ 1 w 331"/>
                  <a:gd name="T69" fmla="*/ 1 h 64"/>
                  <a:gd name="T70" fmla="*/ 1 w 331"/>
                  <a:gd name="T71" fmla="*/ 1 h 64"/>
                  <a:gd name="T72" fmla="*/ 1 w 331"/>
                  <a:gd name="T73" fmla="*/ 1 h 64"/>
                  <a:gd name="T74" fmla="*/ 1 w 331"/>
                  <a:gd name="T75" fmla="*/ 1 h 64"/>
                  <a:gd name="T76" fmla="*/ 1 w 331"/>
                  <a:gd name="T77" fmla="*/ 1 h 64"/>
                  <a:gd name="T78" fmla="*/ 1 w 331"/>
                  <a:gd name="T79" fmla="*/ 1 h 64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331"/>
                  <a:gd name="T121" fmla="*/ 0 h 64"/>
                  <a:gd name="T122" fmla="*/ 331 w 331"/>
                  <a:gd name="T123" fmla="*/ 64 h 64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331" h="64">
                    <a:moveTo>
                      <a:pt x="288" y="17"/>
                    </a:moveTo>
                    <a:lnTo>
                      <a:pt x="290" y="17"/>
                    </a:lnTo>
                    <a:lnTo>
                      <a:pt x="297" y="21"/>
                    </a:lnTo>
                    <a:lnTo>
                      <a:pt x="305" y="24"/>
                    </a:lnTo>
                    <a:lnTo>
                      <a:pt x="313" y="29"/>
                    </a:lnTo>
                    <a:lnTo>
                      <a:pt x="323" y="40"/>
                    </a:lnTo>
                    <a:lnTo>
                      <a:pt x="331" y="50"/>
                    </a:lnTo>
                    <a:lnTo>
                      <a:pt x="331" y="57"/>
                    </a:lnTo>
                    <a:lnTo>
                      <a:pt x="317" y="59"/>
                    </a:lnTo>
                    <a:lnTo>
                      <a:pt x="307" y="57"/>
                    </a:lnTo>
                    <a:lnTo>
                      <a:pt x="297" y="56"/>
                    </a:lnTo>
                    <a:lnTo>
                      <a:pt x="290" y="56"/>
                    </a:lnTo>
                    <a:lnTo>
                      <a:pt x="284" y="54"/>
                    </a:lnTo>
                    <a:lnTo>
                      <a:pt x="278" y="54"/>
                    </a:lnTo>
                    <a:lnTo>
                      <a:pt x="272" y="54"/>
                    </a:lnTo>
                    <a:lnTo>
                      <a:pt x="266" y="52"/>
                    </a:lnTo>
                    <a:lnTo>
                      <a:pt x="258" y="52"/>
                    </a:lnTo>
                    <a:lnTo>
                      <a:pt x="251" y="50"/>
                    </a:lnTo>
                    <a:lnTo>
                      <a:pt x="243" y="50"/>
                    </a:lnTo>
                    <a:lnTo>
                      <a:pt x="235" y="49"/>
                    </a:lnTo>
                    <a:lnTo>
                      <a:pt x="227" y="45"/>
                    </a:lnTo>
                    <a:lnTo>
                      <a:pt x="219" y="45"/>
                    </a:lnTo>
                    <a:lnTo>
                      <a:pt x="211" y="43"/>
                    </a:lnTo>
                    <a:lnTo>
                      <a:pt x="206" y="43"/>
                    </a:lnTo>
                    <a:lnTo>
                      <a:pt x="200" y="45"/>
                    </a:lnTo>
                    <a:lnTo>
                      <a:pt x="194" y="47"/>
                    </a:lnTo>
                    <a:lnTo>
                      <a:pt x="188" y="50"/>
                    </a:lnTo>
                    <a:lnTo>
                      <a:pt x="182" y="56"/>
                    </a:lnTo>
                    <a:lnTo>
                      <a:pt x="174" y="59"/>
                    </a:lnTo>
                    <a:lnTo>
                      <a:pt x="166" y="61"/>
                    </a:lnTo>
                    <a:lnTo>
                      <a:pt x="157" y="64"/>
                    </a:lnTo>
                    <a:lnTo>
                      <a:pt x="145" y="64"/>
                    </a:lnTo>
                    <a:lnTo>
                      <a:pt x="133" y="63"/>
                    </a:lnTo>
                    <a:lnTo>
                      <a:pt x="119" y="61"/>
                    </a:lnTo>
                    <a:lnTo>
                      <a:pt x="110" y="59"/>
                    </a:lnTo>
                    <a:lnTo>
                      <a:pt x="100" y="59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71" y="61"/>
                    </a:lnTo>
                    <a:lnTo>
                      <a:pt x="61" y="61"/>
                    </a:lnTo>
                    <a:lnTo>
                      <a:pt x="49" y="57"/>
                    </a:lnTo>
                    <a:lnTo>
                      <a:pt x="37" y="54"/>
                    </a:lnTo>
                    <a:lnTo>
                      <a:pt x="25" y="50"/>
                    </a:lnTo>
                    <a:lnTo>
                      <a:pt x="16" y="47"/>
                    </a:lnTo>
                    <a:lnTo>
                      <a:pt x="8" y="43"/>
                    </a:lnTo>
                    <a:lnTo>
                      <a:pt x="4" y="42"/>
                    </a:lnTo>
                    <a:lnTo>
                      <a:pt x="0" y="40"/>
                    </a:lnTo>
                    <a:lnTo>
                      <a:pt x="2" y="38"/>
                    </a:lnTo>
                    <a:lnTo>
                      <a:pt x="6" y="36"/>
                    </a:lnTo>
                    <a:lnTo>
                      <a:pt x="16" y="33"/>
                    </a:lnTo>
                    <a:lnTo>
                      <a:pt x="24" y="28"/>
                    </a:lnTo>
                    <a:lnTo>
                      <a:pt x="25" y="24"/>
                    </a:lnTo>
                    <a:lnTo>
                      <a:pt x="20" y="21"/>
                    </a:lnTo>
                    <a:lnTo>
                      <a:pt x="12" y="16"/>
                    </a:lnTo>
                    <a:lnTo>
                      <a:pt x="12" y="7"/>
                    </a:lnTo>
                    <a:lnTo>
                      <a:pt x="18" y="0"/>
                    </a:lnTo>
                    <a:lnTo>
                      <a:pt x="29" y="0"/>
                    </a:lnTo>
                    <a:lnTo>
                      <a:pt x="43" y="3"/>
                    </a:lnTo>
                    <a:lnTo>
                      <a:pt x="55" y="7"/>
                    </a:lnTo>
                    <a:lnTo>
                      <a:pt x="65" y="9"/>
                    </a:lnTo>
                    <a:lnTo>
                      <a:pt x="74" y="10"/>
                    </a:lnTo>
                    <a:lnTo>
                      <a:pt x="86" y="14"/>
                    </a:lnTo>
                    <a:lnTo>
                      <a:pt x="100" y="19"/>
                    </a:lnTo>
                    <a:lnTo>
                      <a:pt x="114" y="24"/>
                    </a:lnTo>
                    <a:lnTo>
                      <a:pt x="125" y="28"/>
                    </a:lnTo>
                    <a:lnTo>
                      <a:pt x="135" y="28"/>
                    </a:lnTo>
                    <a:lnTo>
                      <a:pt x="145" y="24"/>
                    </a:lnTo>
                    <a:lnTo>
                      <a:pt x="155" y="17"/>
                    </a:lnTo>
                    <a:lnTo>
                      <a:pt x="164" y="10"/>
                    </a:lnTo>
                    <a:lnTo>
                      <a:pt x="170" y="5"/>
                    </a:lnTo>
                    <a:lnTo>
                      <a:pt x="178" y="5"/>
                    </a:lnTo>
                    <a:lnTo>
                      <a:pt x="184" y="7"/>
                    </a:lnTo>
                    <a:lnTo>
                      <a:pt x="192" y="10"/>
                    </a:lnTo>
                    <a:lnTo>
                      <a:pt x="204" y="10"/>
                    </a:lnTo>
                    <a:lnTo>
                      <a:pt x="219" y="9"/>
                    </a:lnTo>
                    <a:lnTo>
                      <a:pt x="235" y="5"/>
                    </a:lnTo>
                    <a:lnTo>
                      <a:pt x="247" y="7"/>
                    </a:lnTo>
                    <a:lnTo>
                      <a:pt x="258" y="12"/>
                    </a:lnTo>
                    <a:lnTo>
                      <a:pt x="272" y="16"/>
                    </a:lnTo>
                    <a:lnTo>
                      <a:pt x="284" y="17"/>
                    </a:lnTo>
                    <a:lnTo>
                      <a:pt x="288" y="17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82" name="Freeform 41"/>
              <p:cNvSpPr>
                <a:spLocks/>
              </p:cNvSpPr>
              <p:nvPr/>
            </p:nvSpPr>
            <p:spPr bwMode="auto">
              <a:xfrm>
                <a:off x="4407" y="3949"/>
                <a:ext cx="61" cy="24"/>
              </a:xfrm>
              <a:custGeom>
                <a:avLst/>
                <a:gdLst>
                  <a:gd name="T0" fmla="*/ 1 w 88"/>
                  <a:gd name="T1" fmla="*/ 1 h 42"/>
                  <a:gd name="T2" fmla="*/ 1 w 88"/>
                  <a:gd name="T3" fmla="*/ 1 h 42"/>
                  <a:gd name="T4" fmla="*/ 1 w 88"/>
                  <a:gd name="T5" fmla="*/ 1 h 42"/>
                  <a:gd name="T6" fmla="*/ 1 w 88"/>
                  <a:gd name="T7" fmla="*/ 1 h 42"/>
                  <a:gd name="T8" fmla="*/ 1 w 88"/>
                  <a:gd name="T9" fmla="*/ 1 h 42"/>
                  <a:gd name="T10" fmla="*/ 1 w 88"/>
                  <a:gd name="T11" fmla="*/ 1 h 42"/>
                  <a:gd name="T12" fmla="*/ 1 w 88"/>
                  <a:gd name="T13" fmla="*/ 1 h 42"/>
                  <a:gd name="T14" fmla="*/ 1 w 88"/>
                  <a:gd name="T15" fmla="*/ 1 h 42"/>
                  <a:gd name="T16" fmla="*/ 1 w 88"/>
                  <a:gd name="T17" fmla="*/ 1 h 42"/>
                  <a:gd name="T18" fmla="*/ 1 w 88"/>
                  <a:gd name="T19" fmla="*/ 1 h 42"/>
                  <a:gd name="T20" fmla="*/ 1 w 88"/>
                  <a:gd name="T21" fmla="*/ 1 h 42"/>
                  <a:gd name="T22" fmla="*/ 1 w 88"/>
                  <a:gd name="T23" fmla="*/ 1 h 42"/>
                  <a:gd name="T24" fmla="*/ 1 w 88"/>
                  <a:gd name="T25" fmla="*/ 1 h 42"/>
                  <a:gd name="T26" fmla="*/ 1 w 88"/>
                  <a:gd name="T27" fmla="*/ 1 h 42"/>
                  <a:gd name="T28" fmla="*/ 1 w 88"/>
                  <a:gd name="T29" fmla="*/ 1 h 42"/>
                  <a:gd name="T30" fmla="*/ 0 w 88"/>
                  <a:gd name="T31" fmla="*/ 1 h 42"/>
                  <a:gd name="T32" fmla="*/ 1 w 88"/>
                  <a:gd name="T33" fmla="*/ 0 h 42"/>
                  <a:gd name="T34" fmla="*/ 1 w 88"/>
                  <a:gd name="T35" fmla="*/ 1 h 42"/>
                  <a:gd name="T36" fmla="*/ 1 w 88"/>
                  <a:gd name="T37" fmla="*/ 1 h 42"/>
                  <a:gd name="T38" fmla="*/ 1 w 88"/>
                  <a:gd name="T39" fmla="*/ 1 h 42"/>
                  <a:gd name="T40" fmla="*/ 1 w 88"/>
                  <a:gd name="T41" fmla="*/ 1 h 4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88"/>
                  <a:gd name="T64" fmla="*/ 0 h 42"/>
                  <a:gd name="T65" fmla="*/ 88 w 88"/>
                  <a:gd name="T66" fmla="*/ 42 h 4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88" h="42">
                    <a:moveTo>
                      <a:pt x="47" y="7"/>
                    </a:moveTo>
                    <a:lnTo>
                      <a:pt x="53" y="5"/>
                    </a:lnTo>
                    <a:lnTo>
                      <a:pt x="65" y="5"/>
                    </a:lnTo>
                    <a:lnTo>
                      <a:pt x="78" y="7"/>
                    </a:lnTo>
                    <a:lnTo>
                      <a:pt x="86" y="12"/>
                    </a:lnTo>
                    <a:lnTo>
                      <a:pt x="88" y="23"/>
                    </a:lnTo>
                    <a:lnTo>
                      <a:pt x="84" y="31"/>
                    </a:lnTo>
                    <a:lnTo>
                      <a:pt x="74" y="38"/>
                    </a:lnTo>
                    <a:lnTo>
                      <a:pt x="57" y="42"/>
                    </a:lnTo>
                    <a:lnTo>
                      <a:pt x="39" y="42"/>
                    </a:lnTo>
                    <a:lnTo>
                      <a:pt x="31" y="40"/>
                    </a:lnTo>
                    <a:lnTo>
                      <a:pt x="25" y="37"/>
                    </a:lnTo>
                    <a:lnTo>
                      <a:pt x="20" y="30"/>
                    </a:lnTo>
                    <a:lnTo>
                      <a:pt x="10" y="21"/>
                    </a:lnTo>
                    <a:lnTo>
                      <a:pt x="2" y="11"/>
                    </a:lnTo>
                    <a:lnTo>
                      <a:pt x="0" y="4"/>
                    </a:lnTo>
                    <a:lnTo>
                      <a:pt x="8" y="0"/>
                    </a:lnTo>
                    <a:lnTo>
                      <a:pt x="20" y="4"/>
                    </a:lnTo>
                    <a:lnTo>
                      <a:pt x="27" y="9"/>
                    </a:lnTo>
                    <a:lnTo>
                      <a:pt x="37" y="11"/>
                    </a:lnTo>
                    <a:lnTo>
                      <a:pt x="47" y="7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83" name="Freeform 42"/>
              <p:cNvSpPr>
                <a:spLocks/>
              </p:cNvSpPr>
              <p:nvPr/>
            </p:nvSpPr>
            <p:spPr bwMode="auto">
              <a:xfrm>
                <a:off x="4504" y="3835"/>
                <a:ext cx="657" cy="272"/>
              </a:xfrm>
              <a:custGeom>
                <a:avLst/>
                <a:gdLst>
                  <a:gd name="T0" fmla="*/ 1 w 945"/>
                  <a:gd name="T1" fmla="*/ 1 h 455"/>
                  <a:gd name="T2" fmla="*/ 1 w 945"/>
                  <a:gd name="T3" fmla="*/ 1 h 455"/>
                  <a:gd name="T4" fmla="*/ 1 w 945"/>
                  <a:gd name="T5" fmla="*/ 1 h 455"/>
                  <a:gd name="T6" fmla="*/ 1 w 945"/>
                  <a:gd name="T7" fmla="*/ 1 h 455"/>
                  <a:gd name="T8" fmla="*/ 1 w 945"/>
                  <a:gd name="T9" fmla="*/ 1 h 455"/>
                  <a:gd name="T10" fmla="*/ 1 w 945"/>
                  <a:gd name="T11" fmla="*/ 1 h 455"/>
                  <a:gd name="T12" fmla="*/ 1 w 945"/>
                  <a:gd name="T13" fmla="*/ 1 h 455"/>
                  <a:gd name="T14" fmla="*/ 1 w 945"/>
                  <a:gd name="T15" fmla="*/ 1 h 455"/>
                  <a:gd name="T16" fmla="*/ 1 w 945"/>
                  <a:gd name="T17" fmla="*/ 1 h 455"/>
                  <a:gd name="T18" fmla="*/ 1 w 945"/>
                  <a:gd name="T19" fmla="*/ 1 h 455"/>
                  <a:gd name="T20" fmla="*/ 1 w 945"/>
                  <a:gd name="T21" fmla="*/ 1 h 455"/>
                  <a:gd name="T22" fmla="*/ 1 w 945"/>
                  <a:gd name="T23" fmla="*/ 1 h 455"/>
                  <a:gd name="T24" fmla="*/ 1 w 945"/>
                  <a:gd name="T25" fmla="*/ 1 h 455"/>
                  <a:gd name="T26" fmla="*/ 1 w 945"/>
                  <a:gd name="T27" fmla="*/ 1 h 455"/>
                  <a:gd name="T28" fmla="*/ 1 w 945"/>
                  <a:gd name="T29" fmla="*/ 1 h 455"/>
                  <a:gd name="T30" fmla="*/ 1 w 945"/>
                  <a:gd name="T31" fmla="*/ 1 h 455"/>
                  <a:gd name="T32" fmla="*/ 1 w 945"/>
                  <a:gd name="T33" fmla="*/ 1 h 455"/>
                  <a:gd name="T34" fmla="*/ 1 w 945"/>
                  <a:gd name="T35" fmla="*/ 1 h 455"/>
                  <a:gd name="T36" fmla="*/ 1 w 945"/>
                  <a:gd name="T37" fmla="*/ 1 h 455"/>
                  <a:gd name="T38" fmla="*/ 1 w 945"/>
                  <a:gd name="T39" fmla="*/ 1 h 455"/>
                  <a:gd name="T40" fmla="*/ 1 w 945"/>
                  <a:gd name="T41" fmla="*/ 1 h 455"/>
                  <a:gd name="T42" fmla="*/ 1 w 945"/>
                  <a:gd name="T43" fmla="*/ 1 h 455"/>
                  <a:gd name="T44" fmla="*/ 1 w 945"/>
                  <a:gd name="T45" fmla="*/ 1 h 455"/>
                  <a:gd name="T46" fmla="*/ 1 w 945"/>
                  <a:gd name="T47" fmla="*/ 1 h 455"/>
                  <a:gd name="T48" fmla="*/ 1 w 945"/>
                  <a:gd name="T49" fmla="*/ 1 h 455"/>
                  <a:gd name="T50" fmla="*/ 1 w 945"/>
                  <a:gd name="T51" fmla="*/ 1 h 455"/>
                  <a:gd name="T52" fmla="*/ 1 w 945"/>
                  <a:gd name="T53" fmla="*/ 1 h 455"/>
                  <a:gd name="T54" fmla="*/ 1 w 945"/>
                  <a:gd name="T55" fmla="*/ 1 h 455"/>
                  <a:gd name="T56" fmla="*/ 1 w 945"/>
                  <a:gd name="T57" fmla="*/ 1 h 455"/>
                  <a:gd name="T58" fmla="*/ 1 w 945"/>
                  <a:gd name="T59" fmla="*/ 1 h 455"/>
                  <a:gd name="T60" fmla="*/ 1 w 945"/>
                  <a:gd name="T61" fmla="*/ 1 h 455"/>
                  <a:gd name="T62" fmla="*/ 1 w 945"/>
                  <a:gd name="T63" fmla="*/ 1 h 455"/>
                  <a:gd name="T64" fmla="*/ 1 w 945"/>
                  <a:gd name="T65" fmla="*/ 1 h 455"/>
                  <a:gd name="T66" fmla="*/ 1 w 945"/>
                  <a:gd name="T67" fmla="*/ 1 h 455"/>
                  <a:gd name="T68" fmla="*/ 1 w 945"/>
                  <a:gd name="T69" fmla="*/ 1 h 455"/>
                  <a:gd name="T70" fmla="*/ 1 w 945"/>
                  <a:gd name="T71" fmla="*/ 1 h 455"/>
                  <a:gd name="T72" fmla="*/ 1 w 945"/>
                  <a:gd name="T73" fmla="*/ 1 h 455"/>
                  <a:gd name="T74" fmla="*/ 1 w 945"/>
                  <a:gd name="T75" fmla="*/ 1 h 455"/>
                  <a:gd name="T76" fmla="*/ 1 w 945"/>
                  <a:gd name="T77" fmla="*/ 1 h 455"/>
                  <a:gd name="T78" fmla="*/ 1 w 945"/>
                  <a:gd name="T79" fmla="*/ 1 h 455"/>
                  <a:gd name="T80" fmla="*/ 1 w 945"/>
                  <a:gd name="T81" fmla="*/ 1 h 455"/>
                  <a:gd name="T82" fmla="*/ 1 w 945"/>
                  <a:gd name="T83" fmla="*/ 1 h 455"/>
                  <a:gd name="T84" fmla="*/ 1 w 945"/>
                  <a:gd name="T85" fmla="*/ 1 h 455"/>
                  <a:gd name="T86" fmla="*/ 1 w 945"/>
                  <a:gd name="T87" fmla="*/ 1 h 455"/>
                  <a:gd name="T88" fmla="*/ 1 w 945"/>
                  <a:gd name="T89" fmla="*/ 1 h 455"/>
                  <a:gd name="T90" fmla="*/ 1 w 945"/>
                  <a:gd name="T91" fmla="*/ 1 h 455"/>
                  <a:gd name="T92" fmla="*/ 1 w 945"/>
                  <a:gd name="T93" fmla="*/ 1 h 455"/>
                  <a:gd name="T94" fmla="*/ 1 w 945"/>
                  <a:gd name="T95" fmla="*/ 1 h 455"/>
                  <a:gd name="T96" fmla="*/ 1 w 945"/>
                  <a:gd name="T97" fmla="*/ 1 h 455"/>
                  <a:gd name="T98" fmla="*/ 1 w 945"/>
                  <a:gd name="T99" fmla="*/ 1 h 455"/>
                  <a:gd name="T100" fmla="*/ 1 w 945"/>
                  <a:gd name="T101" fmla="*/ 1 h 455"/>
                  <a:gd name="T102" fmla="*/ 1 w 945"/>
                  <a:gd name="T103" fmla="*/ 1 h 455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945"/>
                  <a:gd name="T157" fmla="*/ 0 h 455"/>
                  <a:gd name="T158" fmla="*/ 945 w 945"/>
                  <a:gd name="T159" fmla="*/ 455 h 455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945" h="455">
                    <a:moveTo>
                      <a:pt x="70" y="2"/>
                    </a:moveTo>
                    <a:lnTo>
                      <a:pt x="66" y="2"/>
                    </a:lnTo>
                    <a:lnTo>
                      <a:pt x="57" y="4"/>
                    </a:lnTo>
                    <a:lnTo>
                      <a:pt x="45" y="6"/>
                    </a:lnTo>
                    <a:lnTo>
                      <a:pt x="33" y="6"/>
                    </a:lnTo>
                    <a:lnTo>
                      <a:pt x="23" y="2"/>
                    </a:lnTo>
                    <a:lnTo>
                      <a:pt x="12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6" y="21"/>
                    </a:lnTo>
                    <a:lnTo>
                      <a:pt x="19" y="30"/>
                    </a:lnTo>
                    <a:lnTo>
                      <a:pt x="39" y="35"/>
                    </a:lnTo>
                    <a:lnTo>
                      <a:pt x="51" y="37"/>
                    </a:lnTo>
                    <a:lnTo>
                      <a:pt x="63" y="39"/>
                    </a:lnTo>
                    <a:lnTo>
                      <a:pt x="72" y="39"/>
                    </a:lnTo>
                    <a:lnTo>
                      <a:pt x="82" y="39"/>
                    </a:lnTo>
                    <a:lnTo>
                      <a:pt x="90" y="40"/>
                    </a:lnTo>
                    <a:lnTo>
                      <a:pt x="100" y="42"/>
                    </a:lnTo>
                    <a:lnTo>
                      <a:pt x="108" y="44"/>
                    </a:lnTo>
                    <a:lnTo>
                      <a:pt x="117" y="47"/>
                    </a:lnTo>
                    <a:lnTo>
                      <a:pt x="127" y="51"/>
                    </a:lnTo>
                    <a:lnTo>
                      <a:pt x="137" y="56"/>
                    </a:lnTo>
                    <a:lnTo>
                      <a:pt x="149" y="61"/>
                    </a:lnTo>
                    <a:lnTo>
                      <a:pt x="160" y="66"/>
                    </a:lnTo>
                    <a:lnTo>
                      <a:pt x="172" y="72"/>
                    </a:lnTo>
                    <a:lnTo>
                      <a:pt x="180" y="77"/>
                    </a:lnTo>
                    <a:lnTo>
                      <a:pt x="188" y="80"/>
                    </a:lnTo>
                    <a:lnTo>
                      <a:pt x="194" y="84"/>
                    </a:lnTo>
                    <a:lnTo>
                      <a:pt x="203" y="89"/>
                    </a:lnTo>
                    <a:lnTo>
                      <a:pt x="213" y="91"/>
                    </a:lnTo>
                    <a:lnTo>
                      <a:pt x="223" y="94"/>
                    </a:lnTo>
                    <a:lnTo>
                      <a:pt x="237" y="94"/>
                    </a:lnTo>
                    <a:lnTo>
                      <a:pt x="248" y="98"/>
                    </a:lnTo>
                    <a:lnTo>
                      <a:pt x="256" y="105"/>
                    </a:lnTo>
                    <a:lnTo>
                      <a:pt x="264" y="113"/>
                    </a:lnTo>
                    <a:lnTo>
                      <a:pt x="276" y="120"/>
                    </a:lnTo>
                    <a:lnTo>
                      <a:pt x="286" y="124"/>
                    </a:lnTo>
                    <a:lnTo>
                      <a:pt x="295" y="127"/>
                    </a:lnTo>
                    <a:lnTo>
                      <a:pt x="309" y="133"/>
                    </a:lnTo>
                    <a:lnTo>
                      <a:pt x="321" y="136"/>
                    </a:lnTo>
                    <a:lnTo>
                      <a:pt x="335" y="140"/>
                    </a:lnTo>
                    <a:lnTo>
                      <a:pt x="344" y="141"/>
                    </a:lnTo>
                    <a:lnTo>
                      <a:pt x="352" y="145"/>
                    </a:lnTo>
                    <a:lnTo>
                      <a:pt x="358" y="147"/>
                    </a:lnTo>
                    <a:lnTo>
                      <a:pt x="362" y="148"/>
                    </a:lnTo>
                    <a:lnTo>
                      <a:pt x="368" y="152"/>
                    </a:lnTo>
                    <a:lnTo>
                      <a:pt x="376" y="155"/>
                    </a:lnTo>
                    <a:lnTo>
                      <a:pt x="383" y="159"/>
                    </a:lnTo>
                    <a:lnTo>
                      <a:pt x="393" y="164"/>
                    </a:lnTo>
                    <a:lnTo>
                      <a:pt x="403" y="167"/>
                    </a:lnTo>
                    <a:lnTo>
                      <a:pt x="411" y="173"/>
                    </a:lnTo>
                    <a:lnTo>
                      <a:pt x="421" y="176"/>
                    </a:lnTo>
                    <a:lnTo>
                      <a:pt x="434" y="180"/>
                    </a:lnTo>
                    <a:lnTo>
                      <a:pt x="444" y="180"/>
                    </a:lnTo>
                    <a:lnTo>
                      <a:pt x="456" y="178"/>
                    </a:lnTo>
                    <a:lnTo>
                      <a:pt x="473" y="176"/>
                    </a:lnTo>
                    <a:lnTo>
                      <a:pt x="483" y="176"/>
                    </a:lnTo>
                    <a:lnTo>
                      <a:pt x="493" y="176"/>
                    </a:lnTo>
                    <a:lnTo>
                      <a:pt x="501" y="176"/>
                    </a:lnTo>
                    <a:lnTo>
                      <a:pt x="509" y="176"/>
                    </a:lnTo>
                    <a:lnTo>
                      <a:pt x="515" y="176"/>
                    </a:lnTo>
                    <a:lnTo>
                      <a:pt x="522" y="178"/>
                    </a:lnTo>
                    <a:lnTo>
                      <a:pt x="528" y="181"/>
                    </a:lnTo>
                    <a:lnTo>
                      <a:pt x="536" y="185"/>
                    </a:lnTo>
                    <a:lnTo>
                      <a:pt x="544" y="194"/>
                    </a:lnTo>
                    <a:lnTo>
                      <a:pt x="546" y="201"/>
                    </a:lnTo>
                    <a:lnTo>
                      <a:pt x="552" y="211"/>
                    </a:lnTo>
                    <a:lnTo>
                      <a:pt x="573" y="228"/>
                    </a:lnTo>
                    <a:lnTo>
                      <a:pt x="589" y="237"/>
                    </a:lnTo>
                    <a:lnTo>
                      <a:pt x="601" y="246"/>
                    </a:lnTo>
                    <a:lnTo>
                      <a:pt x="610" y="253"/>
                    </a:lnTo>
                    <a:lnTo>
                      <a:pt x="618" y="258"/>
                    </a:lnTo>
                    <a:lnTo>
                      <a:pt x="626" y="261"/>
                    </a:lnTo>
                    <a:lnTo>
                      <a:pt x="630" y="263"/>
                    </a:lnTo>
                    <a:lnTo>
                      <a:pt x="632" y="263"/>
                    </a:lnTo>
                    <a:lnTo>
                      <a:pt x="634" y="260"/>
                    </a:lnTo>
                    <a:lnTo>
                      <a:pt x="636" y="254"/>
                    </a:lnTo>
                    <a:lnTo>
                      <a:pt x="638" y="253"/>
                    </a:lnTo>
                    <a:lnTo>
                      <a:pt x="640" y="256"/>
                    </a:lnTo>
                    <a:lnTo>
                      <a:pt x="646" y="267"/>
                    </a:lnTo>
                    <a:lnTo>
                      <a:pt x="654" y="281"/>
                    </a:lnTo>
                    <a:lnTo>
                      <a:pt x="661" y="289"/>
                    </a:lnTo>
                    <a:lnTo>
                      <a:pt x="673" y="296"/>
                    </a:lnTo>
                    <a:lnTo>
                      <a:pt x="689" y="300"/>
                    </a:lnTo>
                    <a:lnTo>
                      <a:pt x="699" y="301"/>
                    </a:lnTo>
                    <a:lnTo>
                      <a:pt x="710" y="301"/>
                    </a:lnTo>
                    <a:lnTo>
                      <a:pt x="722" y="305"/>
                    </a:lnTo>
                    <a:lnTo>
                      <a:pt x="736" y="308"/>
                    </a:lnTo>
                    <a:lnTo>
                      <a:pt x="745" y="312"/>
                    </a:lnTo>
                    <a:lnTo>
                      <a:pt x="753" y="319"/>
                    </a:lnTo>
                    <a:lnTo>
                      <a:pt x="757" y="326"/>
                    </a:lnTo>
                    <a:lnTo>
                      <a:pt x="757" y="335"/>
                    </a:lnTo>
                    <a:lnTo>
                      <a:pt x="755" y="348"/>
                    </a:lnTo>
                    <a:lnTo>
                      <a:pt x="761" y="355"/>
                    </a:lnTo>
                    <a:lnTo>
                      <a:pt x="775" y="361"/>
                    </a:lnTo>
                    <a:lnTo>
                      <a:pt x="794" y="369"/>
                    </a:lnTo>
                    <a:lnTo>
                      <a:pt x="806" y="375"/>
                    </a:lnTo>
                    <a:lnTo>
                      <a:pt x="816" y="382"/>
                    </a:lnTo>
                    <a:lnTo>
                      <a:pt x="826" y="389"/>
                    </a:lnTo>
                    <a:lnTo>
                      <a:pt x="836" y="395"/>
                    </a:lnTo>
                    <a:lnTo>
                      <a:pt x="845" y="401"/>
                    </a:lnTo>
                    <a:lnTo>
                      <a:pt x="853" y="408"/>
                    </a:lnTo>
                    <a:lnTo>
                      <a:pt x="859" y="413"/>
                    </a:lnTo>
                    <a:lnTo>
                      <a:pt x="865" y="416"/>
                    </a:lnTo>
                    <a:lnTo>
                      <a:pt x="875" y="420"/>
                    </a:lnTo>
                    <a:lnTo>
                      <a:pt x="884" y="422"/>
                    </a:lnTo>
                    <a:lnTo>
                      <a:pt x="894" y="423"/>
                    </a:lnTo>
                    <a:lnTo>
                      <a:pt x="904" y="430"/>
                    </a:lnTo>
                    <a:lnTo>
                      <a:pt x="916" y="441"/>
                    </a:lnTo>
                    <a:lnTo>
                      <a:pt x="929" y="451"/>
                    </a:lnTo>
                    <a:lnTo>
                      <a:pt x="941" y="455"/>
                    </a:lnTo>
                    <a:lnTo>
                      <a:pt x="945" y="449"/>
                    </a:lnTo>
                    <a:lnTo>
                      <a:pt x="945" y="437"/>
                    </a:lnTo>
                    <a:lnTo>
                      <a:pt x="943" y="425"/>
                    </a:lnTo>
                    <a:lnTo>
                      <a:pt x="939" y="413"/>
                    </a:lnTo>
                    <a:lnTo>
                      <a:pt x="933" y="402"/>
                    </a:lnTo>
                    <a:lnTo>
                      <a:pt x="929" y="389"/>
                    </a:lnTo>
                    <a:lnTo>
                      <a:pt x="927" y="366"/>
                    </a:lnTo>
                    <a:lnTo>
                      <a:pt x="926" y="345"/>
                    </a:lnTo>
                    <a:lnTo>
                      <a:pt x="920" y="331"/>
                    </a:lnTo>
                    <a:lnTo>
                      <a:pt x="914" y="326"/>
                    </a:lnTo>
                    <a:lnTo>
                      <a:pt x="908" y="317"/>
                    </a:lnTo>
                    <a:lnTo>
                      <a:pt x="898" y="308"/>
                    </a:lnTo>
                    <a:lnTo>
                      <a:pt x="888" y="300"/>
                    </a:lnTo>
                    <a:lnTo>
                      <a:pt x="877" y="293"/>
                    </a:lnTo>
                    <a:lnTo>
                      <a:pt x="867" y="286"/>
                    </a:lnTo>
                    <a:lnTo>
                      <a:pt x="859" y="281"/>
                    </a:lnTo>
                    <a:lnTo>
                      <a:pt x="851" y="279"/>
                    </a:lnTo>
                    <a:lnTo>
                      <a:pt x="843" y="279"/>
                    </a:lnTo>
                    <a:lnTo>
                      <a:pt x="836" y="281"/>
                    </a:lnTo>
                    <a:lnTo>
                      <a:pt x="826" y="282"/>
                    </a:lnTo>
                    <a:lnTo>
                      <a:pt x="818" y="282"/>
                    </a:lnTo>
                    <a:lnTo>
                      <a:pt x="808" y="284"/>
                    </a:lnTo>
                    <a:lnTo>
                      <a:pt x="800" y="282"/>
                    </a:lnTo>
                    <a:lnTo>
                      <a:pt x="792" y="281"/>
                    </a:lnTo>
                    <a:lnTo>
                      <a:pt x="787" y="275"/>
                    </a:lnTo>
                    <a:lnTo>
                      <a:pt x="781" y="268"/>
                    </a:lnTo>
                    <a:lnTo>
                      <a:pt x="773" y="261"/>
                    </a:lnTo>
                    <a:lnTo>
                      <a:pt x="763" y="254"/>
                    </a:lnTo>
                    <a:lnTo>
                      <a:pt x="751" y="248"/>
                    </a:lnTo>
                    <a:lnTo>
                      <a:pt x="742" y="241"/>
                    </a:lnTo>
                    <a:lnTo>
                      <a:pt x="732" y="235"/>
                    </a:lnTo>
                    <a:lnTo>
                      <a:pt x="722" y="230"/>
                    </a:lnTo>
                    <a:lnTo>
                      <a:pt x="714" y="225"/>
                    </a:lnTo>
                    <a:lnTo>
                      <a:pt x="704" y="214"/>
                    </a:lnTo>
                    <a:lnTo>
                      <a:pt x="697" y="202"/>
                    </a:lnTo>
                    <a:lnTo>
                      <a:pt x="687" y="192"/>
                    </a:lnTo>
                    <a:lnTo>
                      <a:pt x="673" y="188"/>
                    </a:lnTo>
                    <a:lnTo>
                      <a:pt x="665" y="188"/>
                    </a:lnTo>
                    <a:lnTo>
                      <a:pt x="655" y="188"/>
                    </a:lnTo>
                    <a:lnTo>
                      <a:pt x="646" y="187"/>
                    </a:lnTo>
                    <a:lnTo>
                      <a:pt x="638" y="187"/>
                    </a:lnTo>
                    <a:lnTo>
                      <a:pt x="628" y="187"/>
                    </a:lnTo>
                    <a:lnTo>
                      <a:pt x="620" y="185"/>
                    </a:lnTo>
                    <a:lnTo>
                      <a:pt x="614" y="185"/>
                    </a:lnTo>
                    <a:lnTo>
                      <a:pt x="609" y="185"/>
                    </a:lnTo>
                    <a:lnTo>
                      <a:pt x="601" y="180"/>
                    </a:lnTo>
                    <a:lnTo>
                      <a:pt x="591" y="167"/>
                    </a:lnTo>
                    <a:lnTo>
                      <a:pt x="579" y="154"/>
                    </a:lnTo>
                    <a:lnTo>
                      <a:pt x="562" y="141"/>
                    </a:lnTo>
                    <a:lnTo>
                      <a:pt x="546" y="133"/>
                    </a:lnTo>
                    <a:lnTo>
                      <a:pt x="540" y="127"/>
                    </a:lnTo>
                    <a:lnTo>
                      <a:pt x="536" y="126"/>
                    </a:lnTo>
                    <a:lnTo>
                      <a:pt x="536" y="120"/>
                    </a:lnTo>
                    <a:lnTo>
                      <a:pt x="534" y="106"/>
                    </a:lnTo>
                    <a:lnTo>
                      <a:pt x="528" y="93"/>
                    </a:lnTo>
                    <a:lnTo>
                      <a:pt x="515" y="82"/>
                    </a:lnTo>
                    <a:lnTo>
                      <a:pt x="505" y="79"/>
                    </a:lnTo>
                    <a:lnTo>
                      <a:pt x="497" y="77"/>
                    </a:lnTo>
                    <a:lnTo>
                      <a:pt x="487" y="75"/>
                    </a:lnTo>
                    <a:lnTo>
                      <a:pt x="479" y="75"/>
                    </a:lnTo>
                    <a:lnTo>
                      <a:pt x="472" y="73"/>
                    </a:lnTo>
                    <a:lnTo>
                      <a:pt x="462" y="73"/>
                    </a:lnTo>
                    <a:lnTo>
                      <a:pt x="454" y="73"/>
                    </a:lnTo>
                    <a:lnTo>
                      <a:pt x="444" y="73"/>
                    </a:lnTo>
                    <a:lnTo>
                      <a:pt x="428" y="77"/>
                    </a:lnTo>
                    <a:lnTo>
                      <a:pt x="417" y="86"/>
                    </a:lnTo>
                    <a:lnTo>
                      <a:pt x="403" y="94"/>
                    </a:lnTo>
                    <a:lnTo>
                      <a:pt x="389" y="96"/>
                    </a:lnTo>
                    <a:lnTo>
                      <a:pt x="378" y="91"/>
                    </a:lnTo>
                    <a:lnTo>
                      <a:pt x="372" y="84"/>
                    </a:lnTo>
                    <a:lnTo>
                      <a:pt x="370" y="75"/>
                    </a:lnTo>
                    <a:lnTo>
                      <a:pt x="370" y="72"/>
                    </a:lnTo>
                    <a:lnTo>
                      <a:pt x="364" y="72"/>
                    </a:lnTo>
                    <a:lnTo>
                      <a:pt x="354" y="73"/>
                    </a:lnTo>
                    <a:lnTo>
                      <a:pt x="342" y="77"/>
                    </a:lnTo>
                    <a:lnTo>
                      <a:pt x="337" y="84"/>
                    </a:lnTo>
                    <a:lnTo>
                      <a:pt x="329" y="91"/>
                    </a:lnTo>
                    <a:lnTo>
                      <a:pt x="315" y="93"/>
                    </a:lnTo>
                    <a:lnTo>
                      <a:pt x="297" y="93"/>
                    </a:lnTo>
                    <a:lnTo>
                      <a:pt x="286" y="87"/>
                    </a:lnTo>
                    <a:lnTo>
                      <a:pt x="278" y="77"/>
                    </a:lnTo>
                    <a:lnTo>
                      <a:pt x="268" y="65"/>
                    </a:lnTo>
                    <a:lnTo>
                      <a:pt x="256" y="54"/>
                    </a:lnTo>
                    <a:lnTo>
                      <a:pt x="243" y="49"/>
                    </a:lnTo>
                    <a:lnTo>
                      <a:pt x="233" y="47"/>
                    </a:lnTo>
                    <a:lnTo>
                      <a:pt x="217" y="44"/>
                    </a:lnTo>
                    <a:lnTo>
                      <a:pt x="201" y="39"/>
                    </a:lnTo>
                    <a:lnTo>
                      <a:pt x="184" y="33"/>
                    </a:lnTo>
                    <a:lnTo>
                      <a:pt x="164" y="28"/>
                    </a:lnTo>
                    <a:lnTo>
                      <a:pt x="147" y="23"/>
                    </a:lnTo>
                    <a:lnTo>
                      <a:pt x="127" y="18"/>
                    </a:lnTo>
                    <a:lnTo>
                      <a:pt x="111" y="12"/>
                    </a:lnTo>
                    <a:lnTo>
                      <a:pt x="88" y="7"/>
                    </a:lnTo>
                    <a:lnTo>
                      <a:pt x="76" y="4"/>
                    </a:lnTo>
                    <a:lnTo>
                      <a:pt x="70" y="2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84" name="Freeform 43"/>
              <p:cNvSpPr>
                <a:spLocks/>
              </p:cNvSpPr>
              <p:nvPr/>
            </p:nvSpPr>
            <p:spPr bwMode="auto">
              <a:xfrm>
                <a:off x="4646" y="3941"/>
                <a:ext cx="175" cy="47"/>
              </a:xfrm>
              <a:custGeom>
                <a:avLst/>
                <a:gdLst>
                  <a:gd name="T0" fmla="*/ 1 w 253"/>
                  <a:gd name="T1" fmla="*/ 1 h 80"/>
                  <a:gd name="T2" fmla="*/ 1 w 253"/>
                  <a:gd name="T3" fmla="*/ 1 h 80"/>
                  <a:gd name="T4" fmla="*/ 1 w 253"/>
                  <a:gd name="T5" fmla="*/ 1 h 80"/>
                  <a:gd name="T6" fmla="*/ 1 w 253"/>
                  <a:gd name="T7" fmla="*/ 1 h 80"/>
                  <a:gd name="T8" fmla="*/ 1 w 253"/>
                  <a:gd name="T9" fmla="*/ 1 h 80"/>
                  <a:gd name="T10" fmla="*/ 1 w 253"/>
                  <a:gd name="T11" fmla="*/ 1 h 80"/>
                  <a:gd name="T12" fmla="*/ 1 w 253"/>
                  <a:gd name="T13" fmla="*/ 1 h 80"/>
                  <a:gd name="T14" fmla="*/ 1 w 253"/>
                  <a:gd name="T15" fmla="*/ 1 h 80"/>
                  <a:gd name="T16" fmla="*/ 1 w 253"/>
                  <a:gd name="T17" fmla="*/ 1 h 80"/>
                  <a:gd name="T18" fmla="*/ 1 w 253"/>
                  <a:gd name="T19" fmla="*/ 1 h 80"/>
                  <a:gd name="T20" fmla="*/ 1 w 253"/>
                  <a:gd name="T21" fmla="*/ 1 h 80"/>
                  <a:gd name="T22" fmla="*/ 1 w 253"/>
                  <a:gd name="T23" fmla="*/ 1 h 80"/>
                  <a:gd name="T24" fmla="*/ 1 w 253"/>
                  <a:gd name="T25" fmla="*/ 1 h 80"/>
                  <a:gd name="T26" fmla="*/ 1 w 253"/>
                  <a:gd name="T27" fmla="*/ 1 h 80"/>
                  <a:gd name="T28" fmla="*/ 1 w 253"/>
                  <a:gd name="T29" fmla="*/ 1 h 80"/>
                  <a:gd name="T30" fmla="*/ 1 w 253"/>
                  <a:gd name="T31" fmla="*/ 1 h 80"/>
                  <a:gd name="T32" fmla="*/ 1 w 253"/>
                  <a:gd name="T33" fmla="*/ 1 h 80"/>
                  <a:gd name="T34" fmla="*/ 1 w 253"/>
                  <a:gd name="T35" fmla="*/ 1 h 80"/>
                  <a:gd name="T36" fmla="*/ 1 w 253"/>
                  <a:gd name="T37" fmla="*/ 1 h 80"/>
                  <a:gd name="T38" fmla="*/ 1 w 253"/>
                  <a:gd name="T39" fmla="*/ 1 h 80"/>
                  <a:gd name="T40" fmla="*/ 1 w 253"/>
                  <a:gd name="T41" fmla="*/ 0 h 80"/>
                  <a:gd name="T42" fmla="*/ 1 w 253"/>
                  <a:gd name="T43" fmla="*/ 0 h 80"/>
                  <a:gd name="T44" fmla="*/ 1 w 253"/>
                  <a:gd name="T45" fmla="*/ 1 h 80"/>
                  <a:gd name="T46" fmla="*/ 0 w 253"/>
                  <a:gd name="T47" fmla="*/ 1 h 80"/>
                  <a:gd name="T48" fmla="*/ 1 w 253"/>
                  <a:gd name="T49" fmla="*/ 1 h 80"/>
                  <a:gd name="T50" fmla="*/ 1 w 253"/>
                  <a:gd name="T51" fmla="*/ 1 h 80"/>
                  <a:gd name="T52" fmla="*/ 1 w 253"/>
                  <a:gd name="T53" fmla="*/ 1 h 80"/>
                  <a:gd name="T54" fmla="*/ 1 w 253"/>
                  <a:gd name="T55" fmla="*/ 1 h 80"/>
                  <a:gd name="T56" fmla="*/ 1 w 253"/>
                  <a:gd name="T57" fmla="*/ 1 h 80"/>
                  <a:gd name="T58" fmla="*/ 1 w 253"/>
                  <a:gd name="T59" fmla="*/ 1 h 80"/>
                  <a:gd name="T60" fmla="*/ 1 w 253"/>
                  <a:gd name="T61" fmla="*/ 1 h 80"/>
                  <a:gd name="T62" fmla="*/ 1 w 253"/>
                  <a:gd name="T63" fmla="*/ 1 h 80"/>
                  <a:gd name="T64" fmla="*/ 1 w 253"/>
                  <a:gd name="T65" fmla="*/ 1 h 80"/>
                  <a:gd name="T66" fmla="*/ 1 w 253"/>
                  <a:gd name="T67" fmla="*/ 1 h 80"/>
                  <a:gd name="T68" fmla="*/ 1 w 253"/>
                  <a:gd name="T69" fmla="*/ 1 h 80"/>
                  <a:gd name="T70" fmla="*/ 1 w 253"/>
                  <a:gd name="T71" fmla="*/ 1 h 80"/>
                  <a:gd name="T72" fmla="*/ 1 w 253"/>
                  <a:gd name="T73" fmla="*/ 1 h 80"/>
                  <a:gd name="T74" fmla="*/ 1 w 253"/>
                  <a:gd name="T75" fmla="*/ 1 h 80"/>
                  <a:gd name="T76" fmla="*/ 1 w 253"/>
                  <a:gd name="T77" fmla="*/ 1 h 80"/>
                  <a:gd name="T78" fmla="*/ 1 w 253"/>
                  <a:gd name="T79" fmla="*/ 1 h 80"/>
                  <a:gd name="T80" fmla="*/ 1 w 253"/>
                  <a:gd name="T81" fmla="*/ 1 h 80"/>
                  <a:gd name="T82" fmla="*/ 1 w 253"/>
                  <a:gd name="T83" fmla="*/ 1 h 80"/>
                  <a:gd name="T84" fmla="*/ 1 w 253"/>
                  <a:gd name="T85" fmla="*/ 1 h 80"/>
                  <a:gd name="T86" fmla="*/ 1 w 253"/>
                  <a:gd name="T87" fmla="*/ 1 h 80"/>
                  <a:gd name="T88" fmla="*/ 1 w 253"/>
                  <a:gd name="T89" fmla="*/ 1 h 8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53"/>
                  <a:gd name="T136" fmla="*/ 0 h 80"/>
                  <a:gd name="T137" fmla="*/ 253 w 253"/>
                  <a:gd name="T138" fmla="*/ 80 h 8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53" h="80">
                    <a:moveTo>
                      <a:pt x="253" y="76"/>
                    </a:moveTo>
                    <a:lnTo>
                      <a:pt x="253" y="73"/>
                    </a:lnTo>
                    <a:lnTo>
                      <a:pt x="247" y="66"/>
                    </a:lnTo>
                    <a:lnTo>
                      <a:pt x="231" y="56"/>
                    </a:lnTo>
                    <a:lnTo>
                      <a:pt x="202" y="45"/>
                    </a:lnTo>
                    <a:lnTo>
                      <a:pt x="186" y="42"/>
                    </a:lnTo>
                    <a:lnTo>
                      <a:pt x="173" y="38"/>
                    </a:lnTo>
                    <a:lnTo>
                      <a:pt x="161" y="35"/>
                    </a:lnTo>
                    <a:lnTo>
                      <a:pt x="153" y="33"/>
                    </a:lnTo>
                    <a:lnTo>
                      <a:pt x="145" y="31"/>
                    </a:lnTo>
                    <a:lnTo>
                      <a:pt x="139" y="29"/>
                    </a:lnTo>
                    <a:lnTo>
                      <a:pt x="134" y="28"/>
                    </a:lnTo>
                    <a:lnTo>
                      <a:pt x="126" y="24"/>
                    </a:lnTo>
                    <a:lnTo>
                      <a:pt x="112" y="19"/>
                    </a:lnTo>
                    <a:lnTo>
                      <a:pt x="100" y="14"/>
                    </a:lnTo>
                    <a:lnTo>
                      <a:pt x="90" y="12"/>
                    </a:lnTo>
                    <a:lnTo>
                      <a:pt x="79" y="10"/>
                    </a:lnTo>
                    <a:lnTo>
                      <a:pt x="69" y="9"/>
                    </a:lnTo>
                    <a:lnTo>
                      <a:pt x="59" y="7"/>
                    </a:lnTo>
                    <a:lnTo>
                      <a:pt x="49" y="3"/>
                    </a:lnTo>
                    <a:lnTo>
                      <a:pt x="34" y="0"/>
                    </a:lnTo>
                    <a:lnTo>
                      <a:pt x="14" y="0"/>
                    </a:lnTo>
                    <a:lnTo>
                      <a:pt x="2" y="3"/>
                    </a:lnTo>
                    <a:lnTo>
                      <a:pt x="0" y="12"/>
                    </a:lnTo>
                    <a:lnTo>
                      <a:pt x="14" y="19"/>
                    </a:lnTo>
                    <a:lnTo>
                      <a:pt x="32" y="26"/>
                    </a:lnTo>
                    <a:lnTo>
                      <a:pt x="40" y="31"/>
                    </a:lnTo>
                    <a:lnTo>
                      <a:pt x="47" y="35"/>
                    </a:lnTo>
                    <a:lnTo>
                      <a:pt x="59" y="36"/>
                    </a:lnTo>
                    <a:lnTo>
                      <a:pt x="73" y="35"/>
                    </a:lnTo>
                    <a:lnTo>
                      <a:pt x="85" y="35"/>
                    </a:lnTo>
                    <a:lnTo>
                      <a:pt x="96" y="36"/>
                    </a:lnTo>
                    <a:lnTo>
                      <a:pt x="106" y="42"/>
                    </a:lnTo>
                    <a:lnTo>
                      <a:pt x="114" y="49"/>
                    </a:lnTo>
                    <a:lnTo>
                      <a:pt x="122" y="52"/>
                    </a:lnTo>
                    <a:lnTo>
                      <a:pt x="130" y="54"/>
                    </a:lnTo>
                    <a:lnTo>
                      <a:pt x="145" y="54"/>
                    </a:lnTo>
                    <a:lnTo>
                      <a:pt x="161" y="54"/>
                    </a:lnTo>
                    <a:lnTo>
                      <a:pt x="173" y="56"/>
                    </a:lnTo>
                    <a:lnTo>
                      <a:pt x="184" y="59"/>
                    </a:lnTo>
                    <a:lnTo>
                      <a:pt x="202" y="66"/>
                    </a:lnTo>
                    <a:lnTo>
                      <a:pt x="222" y="75"/>
                    </a:lnTo>
                    <a:lnTo>
                      <a:pt x="235" y="78"/>
                    </a:lnTo>
                    <a:lnTo>
                      <a:pt x="245" y="80"/>
                    </a:lnTo>
                    <a:lnTo>
                      <a:pt x="253" y="76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85" name="Freeform 44"/>
              <p:cNvSpPr>
                <a:spLocks/>
              </p:cNvSpPr>
              <p:nvPr/>
            </p:nvSpPr>
            <p:spPr bwMode="auto">
              <a:xfrm>
                <a:off x="4857" y="3962"/>
                <a:ext cx="36" cy="20"/>
              </a:xfrm>
              <a:custGeom>
                <a:avLst/>
                <a:gdLst>
                  <a:gd name="T0" fmla="*/ 1 w 51"/>
                  <a:gd name="T1" fmla="*/ 1 h 35"/>
                  <a:gd name="T2" fmla="*/ 1 w 51"/>
                  <a:gd name="T3" fmla="*/ 1 h 35"/>
                  <a:gd name="T4" fmla="*/ 1 w 51"/>
                  <a:gd name="T5" fmla="*/ 1 h 35"/>
                  <a:gd name="T6" fmla="*/ 1 w 51"/>
                  <a:gd name="T7" fmla="*/ 1 h 35"/>
                  <a:gd name="T8" fmla="*/ 1 w 51"/>
                  <a:gd name="T9" fmla="*/ 1 h 35"/>
                  <a:gd name="T10" fmla="*/ 1 w 51"/>
                  <a:gd name="T11" fmla="*/ 1 h 35"/>
                  <a:gd name="T12" fmla="*/ 1 w 51"/>
                  <a:gd name="T13" fmla="*/ 0 h 35"/>
                  <a:gd name="T14" fmla="*/ 1 w 51"/>
                  <a:gd name="T15" fmla="*/ 1 h 35"/>
                  <a:gd name="T16" fmla="*/ 0 w 51"/>
                  <a:gd name="T17" fmla="*/ 1 h 35"/>
                  <a:gd name="T18" fmla="*/ 0 w 51"/>
                  <a:gd name="T19" fmla="*/ 1 h 35"/>
                  <a:gd name="T20" fmla="*/ 1 w 51"/>
                  <a:gd name="T21" fmla="*/ 1 h 35"/>
                  <a:gd name="T22" fmla="*/ 1 w 51"/>
                  <a:gd name="T23" fmla="*/ 1 h 35"/>
                  <a:gd name="T24" fmla="*/ 1 w 51"/>
                  <a:gd name="T25" fmla="*/ 1 h 35"/>
                  <a:gd name="T26" fmla="*/ 1 w 51"/>
                  <a:gd name="T27" fmla="*/ 1 h 35"/>
                  <a:gd name="T28" fmla="*/ 1 w 51"/>
                  <a:gd name="T29" fmla="*/ 1 h 35"/>
                  <a:gd name="T30" fmla="*/ 1 w 51"/>
                  <a:gd name="T31" fmla="*/ 1 h 35"/>
                  <a:gd name="T32" fmla="*/ 1 w 51"/>
                  <a:gd name="T33" fmla="*/ 1 h 3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1"/>
                  <a:gd name="T52" fmla="*/ 0 h 35"/>
                  <a:gd name="T53" fmla="*/ 51 w 51"/>
                  <a:gd name="T54" fmla="*/ 35 h 3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1" h="35">
                    <a:moveTo>
                      <a:pt x="51" y="31"/>
                    </a:moveTo>
                    <a:lnTo>
                      <a:pt x="49" y="28"/>
                    </a:lnTo>
                    <a:lnTo>
                      <a:pt x="43" y="21"/>
                    </a:lnTo>
                    <a:lnTo>
                      <a:pt x="35" y="12"/>
                    </a:lnTo>
                    <a:lnTo>
                      <a:pt x="27" y="5"/>
                    </a:lnTo>
                    <a:lnTo>
                      <a:pt x="21" y="1"/>
                    </a:lnTo>
                    <a:lnTo>
                      <a:pt x="13" y="0"/>
                    </a:lnTo>
                    <a:lnTo>
                      <a:pt x="6" y="1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6" y="15"/>
                    </a:lnTo>
                    <a:lnTo>
                      <a:pt x="13" y="21"/>
                    </a:lnTo>
                    <a:lnTo>
                      <a:pt x="17" y="22"/>
                    </a:lnTo>
                    <a:lnTo>
                      <a:pt x="21" y="26"/>
                    </a:lnTo>
                    <a:lnTo>
                      <a:pt x="31" y="31"/>
                    </a:lnTo>
                    <a:lnTo>
                      <a:pt x="43" y="35"/>
                    </a:lnTo>
                    <a:lnTo>
                      <a:pt x="51" y="31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86" name="Freeform 45"/>
              <p:cNvSpPr>
                <a:spLocks/>
              </p:cNvSpPr>
              <p:nvPr/>
            </p:nvSpPr>
            <p:spPr bwMode="auto">
              <a:xfrm>
                <a:off x="3435" y="2881"/>
                <a:ext cx="1397" cy="1200"/>
              </a:xfrm>
              <a:custGeom>
                <a:avLst/>
                <a:gdLst>
                  <a:gd name="T0" fmla="*/ 1 w 2010"/>
                  <a:gd name="T1" fmla="*/ 1 h 2007"/>
                  <a:gd name="T2" fmla="*/ 1 w 2010"/>
                  <a:gd name="T3" fmla="*/ 1 h 2007"/>
                  <a:gd name="T4" fmla="*/ 1 w 2010"/>
                  <a:gd name="T5" fmla="*/ 1 h 2007"/>
                  <a:gd name="T6" fmla="*/ 1 w 2010"/>
                  <a:gd name="T7" fmla="*/ 1 h 2007"/>
                  <a:gd name="T8" fmla="*/ 1 w 2010"/>
                  <a:gd name="T9" fmla="*/ 1 h 2007"/>
                  <a:gd name="T10" fmla="*/ 1 w 2010"/>
                  <a:gd name="T11" fmla="*/ 1 h 2007"/>
                  <a:gd name="T12" fmla="*/ 1 w 2010"/>
                  <a:gd name="T13" fmla="*/ 1 h 2007"/>
                  <a:gd name="T14" fmla="*/ 1 w 2010"/>
                  <a:gd name="T15" fmla="*/ 1 h 2007"/>
                  <a:gd name="T16" fmla="*/ 1 w 2010"/>
                  <a:gd name="T17" fmla="*/ 1 h 2007"/>
                  <a:gd name="T18" fmla="*/ 1 w 2010"/>
                  <a:gd name="T19" fmla="*/ 1 h 2007"/>
                  <a:gd name="T20" fmla="*/ 1 w 2010"/>
                  <a:gd name="T21" fmla="*/ 1 h 2007"/>
                  <a:gd name="T22" fmla="*/ 1 w 2010"/>
                  <a:gd name="T23" fmla="*/ 1 h 2007"/>
                  <a:gd name="T24" fmla="*/ 1 w 2010"/>
                  <a:gd name="T25" fmla="*/ 1 h 2007"/>
                  <a:gd name="T26" fmla="*/ 1 w 2010"/>
                  <a:gd name="T27" fmla="*/ 1 h 2007"/>
                  <a:gd name="T28" fmla="*/ 1 w 2010"/>
                  <a:gd name="T29" fmla="*/ 1 h 2007"/>
                  <a:gd name="T30" fmla="*/ 1 w 2010"/>
                  <a:gd name="T31" fmla="*/ 1 h 2007"/>
                  <a:gd name="T32" fmla="*/ 1 w 2010"/>
                  <a:gd name="T33" fmla="*/ 1 h 2007"/>
                  <a:gd name="T34" fmla="*/ 1 w 2010"/>
                  <a:gd name="T35" fmla="*/ 1 h 2007"/>
                  <a:gd name="T36" fmla="*/ 1 w 2010"/>
                  <a:gd name="T37" fmla="*/ 1 h 2007"/>
                  <a:gd name="T38" fmla="*/ 1 w 2010"/>
                  <a:gd name="T39" fmla="*/ 0 h 2007"/>
                  <a:gd name="T40" fmla="*/ 1 w 2010"/>
                  <a:gd name="T41" fmla="*/ 1 h 2007"/>
                  <a:gd name="T42" fmla="*/ 1 w 2010"/>
                  <a:gd name="T43" fmla="*/ 1 h 2007"/>
                  <a:gd name="T44" fmla="*/ 1 w 2010"/>
                  <a:gd name="T45" fmla="*/ 1 h 2007"/>
                  <a:gd name="T46" fmla="*/ 1 w 2010"/>
                  <a:gd name="T47" fmla="*/ 1 h 2007"/>
                  <a:gd name="T48" fmla="*/ 1 w 2010"/>
                  <a:gd name="T49" fmla="*/ 1 h 2007"/>
                  <a:gd name="T50" fmla="*/ 1 w 2010"/>
                  <a:gd name="T51" fmla="*/ 1 h 2007"/>
                  <a:gd name="T52" fmla="*/ 1 w 2010"/>
                  <a:gd name="T53" fmla="*/ 1 h 2007"/>
                  <a:gd name="T54" fmla="*/ 1 w 2010"/>
                  <a:gd name="T55" fmla="*/ 1 h 2007"/>
                  <a:gd name="T56" fmla="*/ 1 w 2010"/>
                  <a:gd name="T57" fmla="*/ 1 h 2007"/>
                  <a:gd name="T58" fmla="*/ 1 w 2010"/>
                  <a:gd name="T59" fmla="*/ 1 h 2007"/>
                  <a:gd name="T60" fmla="*/ 1 w 2010"/>
                  <a:gd name="T61" fmla="*/ 1 h 2007"/>
                  <a:gd name="T62" fmla="*/ 1 w 2010"/>
                  <a:gd name="T63" fmla="*/ 1 h 2007"/>
                  <a:gd name="T64" fmla="*/ 1 w 2010"/>
                  <a:gd name="T65" fmla="*/ 1 h 2007"/>
                  <a:gd name="T66" fmla="*/ 1 w 2010"/>
                  <a:gd name="T67" fmla="*/ 1 h 2007"/>
                  <a:gd name="T68" fmla="*/ 1 w 2010"/>
                  <a:gd name="T69" fmla="*/ 1 h 2007"/>
                  <a:gd name="T70" fmla="*/ 1 w 2010"/>
                  <a:gd name="T71" fmla="*/ 1 h 2007"/>
                  <a:gd name="T72" fmla="*/ 1 w 2010"/>
                  <a:gd name="T73" fmla="*/ 1 h 2007"/>
                  <a:gd name="T74" fmla="*/ 1 w 2010"/>
                  <a:gd name="T75" fmla="*/ 1 h 2007"/>
                  <a:gd name="T76" fmla="*/ 1 w 2010"/>
                  <a:gd name="T77" fmla="*/ 1 h 2007"/>
                  <a:gd name="T78" fmla="*/ 1 w 2010"/>
                  <a:gd name="T79" fmla="*/ 1 h 2007"/>
                  <a:gd name="T80" fmla="*/ 1 w 2010"/>
                  <a:gd name="T81" fmla="*/ 1 h 2007"/>
                  <a:gd name="T82" fmla="*/ 1 w 2010"/>
                  <a:gd name="T83" fmla="*/ 1 h 2007"/>
                  <a:gd name="T84" fmla="*/ 1 w 2010"/>
                  <a:gd name="T85" fmla="*/ 1 h 2007"/>
                  <a:gd name="T86" fmla="*/ 1 w 2010"/>
                  <a:gd name="T87" fmla="*/ 1 h 2007"/>
                  <a:gd name="T88" fmla="*/ 1 w 2010"/>
                  <a:gd name="T89" fmla="*/ 1 h 2007"/>
                  <a:gd name="T90" fmla="*/ 1 w 2010"/>
                  <a:gd name="T91" fmla="*/ 1 h 2007"/>
                  <a:gd name="T92" fmla="*/ 1 w 2010"/>
                  <a:gd name="T93" fmla="*/ 1 h 2007"/>
                  <a:gd name="T94" fmla="*/ 1 w 2010"/>
                  <a:gd name="T95" fmla="*/ 1 h 2007"/>
                  <a:gd name="T96" fmla="*/ 1 w 2010"/>
                  <a:gd name="T97" fmla="*/ 1 h 2007"/>
                  <a:gd name="T98" fmla="*/ 1 w 2010"/>
                  <a:gd name="T99" fmla="*/ 1 h 2007"/>
                  <a:gd name="T100" fmla="*/ 1 w 2010"/>
                  <a:gd name="T101" fmla="*/ 1 h 2007"/>
                  <a:gd name="T102" fmla="*/ 1 w 2010"/>
                  <a:gd name="T103" fmla="*/ 1 h 2007"/>
                  <a:gd name="T104" fmla="*/ 1 w 2010"/>
                  <a:gd name="T105" fmla="*/ 1 h 2007"/>
                  <a:gd name="T106" fmla="*/ 1 w 2010"/>
                  <a:gd name="T107" fmla="*/ 1 h 2007"/>
                  <a:gd name="T108" fmla="*/ 1 w 2010"/>
                  <a:gd name="T109" fmla="*/ 1 h 2007"/>
                  <a:gd name="T110" fmla="*/ 1 w 2010"/>
                  <a:gd name="T111" fmla="*/ 1 h 2007"/>
                  <a:gd name="T112" fmla="*/ 1 w 2010"/>
                  <a:gd name="T113" fmla="*/ 1 h 2007"/>
                  <a:gd name="T114" fmla="*/ 1 w 2010"/>
                  <a:gd name="T115" fmla="*/ 1 h 2007"/>
                  <a:gd name="T116" fmla="*/ 1 w 2010"/>
                  <a:gd name="T117" fmla="*/ 1 h 2007"/>
                  <a:gd name="T118" fmla="*/ 1 w 2010"/>
                  <a:gd name="T119" fmla="*/ 1 h 200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2010"/>
                  <a:gd name="T181" fmla="*/ 0 h 2007"/>
                  <a:gd name="T182" fmla="*/ 2010 w 2010"/>
                  <a:gd name="T183" fmla="*/ 2007 h 200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2010" h="2007">
                    <a:moveTo>
                      <a:pt x="1346" y="1391"/>
                    </a:moveTo>
                    <a:lnTo>
                      <a:pt x="1323" y="1389"/>
                    </a:lnTo>
                    <a:lnTo>
                      <a:pt x="1311" y="1387"/>
                    </a:lnTo>
                    <a:lnTo>
                      <a:pt x="1313" y="1382"/>
                    </a:lnTo>
                    <a:lnTo>
                      <a:pt x="1329" y="1377"/>
                    </a:lnTo>
                    <a:lnTo>
                      <a:pt x="1337" y="1373"/>
                    </a:lnTo>
                    <a:lnTo>
                      <a:pt x="1333" y="1368"/>
                    </a:lnTo>
                    <a:lnTo>
                      <a:pt x="1323" y="1365"/>
                    </a:lnTo>
                    <a:lnTo>
                      <a:pt x="1305" y="1363"/>
                    </a:lnTo>
                    <a:lnTo>
                      <a:pt x="1284" y="1361"/>
                    </a:lnTo>
                    <a:lnTo>
                      <a:pt x="1258" y="1365"/>
                    </a:lnTo>
                    <a:lnTo>
                      <a:pt x="1229" y="1370"/>
                    </a:lnTo>
                    <a:lnTo>
                      <a:pt x="1202" y="1380"/>
                    </a:lnTo>
                    <a:lnTo>
                      <a:pt x="1176" y="1391"/>
                    </a:lnTo>
                    <a:lnTo>
                      <a:pt x="1153" y="1398"/>
                    </a:lnTo>
                    <a:lnTo>
                      <a:pt x="1131" y="1403"/>
                    </a:lnTo>
                    <a:lnTo>
                      <a:pt x="1112" y="1405"/>
                    </a:lnTo>
                    <a:lnTo>
                      <a:pt x="1092" y="1403"/>
                    </a:lnTo>
                    <a:lnTo>
                      <a:pt x="1074" y="1399"/>
                    </a:lnTo>
                    <a:lnTo>
                      <a:pt x="1057" y="1394"/>
                    </a:lnTo>
                    <a:lnTo>
                      <a:pt x="1039" y="1385"/>
                    </a:lnTo>
                    <a:lnTo>
                      <a:pt x="1014" y="1363"/>
                    </a:lnTo>
                    <a:lnTo>
                      <a:pt x="1004" y="1335"/>
                    </a:lnTo>
                    <a:lnTo>
                      <a:pt x="1004" y="1305"/>
                    </a:lnTo>
                    <a:lnTo>
                      <a:pt x="1006" y="1276"/>
                    </a:lnTo>
                    <a:lnTo>
                      <a:pt x="1004" y="1251"/>
                    </a:lnTo>
                    <a:lnTo>
                      <a:pt x="994" y="1234"/>
                    </a:lnTo>
                    <a:lnTo>
                      <a:pt x="981" y="1222"/>
                    </a:lnTo>
                    <a:lnTo>
                      <a:pt x="963" y="1215"/>
                    </a:lnTo>
                    <a:lnTo>
                      <a:pt x="953" y="1213"/>
                    </a:lnTo>
                    <a:lnTo>
                      <a:pt x="943" y="1210"/>
                    </a:lnTo>
                    <a:lnTo>
                      <a:pt x="932" y="1208"/>
                    </a:lnTo>
                    <a:lnTo>
                      <a:pt x="922" y="1204"/>
                    </a:lnTo>
                    <a:lnTo>
                      <a:pt x="910" y="1201"/>
                    </a:lnTo>
                    <a:lnTo>
                      <a:pt x="898" y="1196"/>
                    </a:lnTo>
                    <a:lnTo>
                      <a:pt x="889" y="1192"/>
                    </a:lnTo>
                    <a:lnTo>
                      <a:pt x="879" y="1187"/>
                    </a:lnTo>
                    <a:lnTo>
                      <a:pt x="863" y="1178"/>
                    </a:lnTo>
                    <a:lnTo>
                      <a:pt x="855" y="1177"/>
                    </a:lnTo>
                    <a:lnTo>
                      <a:pt x="846" y="1177"/>
                    </a:lnTo>
                    <a:lnTo>
                      <a:pt x="830" y="1177"/>
                    </a:lnTo>
                    <a:lnTo>
                      <a:pt x="816" y="1173"/>
                    </a:lnTo>
                    <a:lnTo>
                      <a:pt x="810" y="1161"/>
                    </a:lnTo>
                    <a:lnTo>
                      <a:pt x="802" y="1140"/>
                    </a:lnTo>
                    <a:lnTo>
                      <a:pt x="783" y="1110"/>
                    </a:lnTo>
                    <a:lnTo>
                      <a:pt x="767" y="1093"/>
                    </a:lnTo>
                    <a:lnTo>
                      <a:pt x="748" y="1074"/>
                    </a:lnTo>
                    <a:lnTo>
                      <a:pt x="726" y="1055"/>
                    </a:lnTo>
                    <a:lnTo>
                      <a:pt x="703" y="1036"/>
                    </a:lnTo>
                    <a:lnTo>
                      <a:pt x="679" y="1015"/>
                    </a:lnTo>
                    <a:lnTo>
                      <a:pt x="654" y="994"/>
                    </a:lnTo>
                    <a:lnTo>
                      <a:pt x="630" y="971"/>
                    </a:lnTo>
                    <a:lnTo>
                      <a:pt x="607" y="949"/>
                    </a:lnTo>
                    <a:lnTo>
                      <a:pt x="587" y="928"/>
                    </a:lnTo>
                    <a:lnTo>
                      <a:pt x="573" y="907"/>
                    </a:lnTo>
                    <a:lnTo>
                      <a:pt x="562" y="891"/>
                    </a:lnTo>
                    <a:lnTo>
                      <a:pt x="554" y="874"/>
                    </a:lnTo>
                    <a:lnTo>
                      <a:pt x="548" y="860"/>
                    </a:lnTo>
                    <a:lnTo>
                      <a:pt x="542" y="846"/>
                    </a:lnTo>
                    <a:lnTo>
                      <a:pt x="538" y="834"/>
                    </a:lnTo>
                    <a:lnTo>
                      <a:pt x="532" y="821"/>
                    </a:lnTo>
                    <a:lnTo>
                      <a:pt x="528" y="804"/>
                    </a:lnTo>
                    <a:lnTo>
                      <a:pt x="536" y="801"/>
                    </a:lnTo>
                    <a:lnTo>
                      <a:pt x="552" y="806"/>
                    </a:lnTo>
                    <a:lnTo>
                      <a:pt x="570" y="816"/>
                    </a:lnTo>
                    <a:lnTo>
                      <a:pt x="581" y="821"/>
                    </a:lnTo>
                    <a:lnTo>
                      <a:pt x="589" y="816"/>
                    </a:lnTo>
                    <a:lnTo>
                      <a:pt x="597" y="806"/>
                    </a:lnTo>
                    <a:lnTo>
                      <a:pt x="611" y="792"/>
                    </a:lnTo>
                    <a:lnTo>
                      <a:pt x="622" y="787"/>
                    </a:lnTo>
                    <a:lnTo>
                      <a:pt x="638" y="787"/>
                    </a:lnTo>
                    <a:lnTo>
                      <a:pt x="654" y="790"/>
                    </a:lnTo>
                    <a:lnTo>
                      <a:pt x="671" y="795"/>
                    </a:lnTo>
                    <a:lnTo>
                      <a:pt x="689" y="802"/>
                    </a:lnTo>
                    <a:lnTo>
                      <a:pt x="705" y="807"/>
                    </a:lnTo>
                    <a:lnTo>
                      <a:pt x="716" y="811"/>
                    </a:lnTo>
                    <a:lnTo>
                      <a:pt x="724" y="811"/>
                    </a:lnTo>
                    <a:lnTo>
                      <a:pt x="724" y="806"/>
                    </a:lnTo>
                    <a:lnTo>
                      <a:pt x="710" y="794"/>
                    </a:lnTo>
                    <a:lnTo>
                      <a:pt x="689" y="774"/>
                    </a:lnTo>
                    <a:lnTo>
                      <a:pt x="660" y="752"/>
                    </a:lnTo>
                    <a:lnTo>
                      <a:pt x="628" y="726"/>
                    </a:lnTo>
                    <a:lnTo>
                      <a:pt x="595" y="700"/>
                    </a:lnTo>
                    <a:lnTo>
                      <a:pt x="564" y="672"/>
                    </a:lnTo>
                    <a:lnTo>
                      <a:pt x="536" y="646"/>
                    </a:lnTo>
                    <a:lnTo>
                      <a:pt x="513" y="621"/>
                    </a:lnTo>
                    <a:lnTo>
                      <a:pt x="487" y="599"/>
                    </a:lnTo>
                    <a:lnTo>
                      <a:pt x="464" y="574"/>
                    </a:lnTo>
                    <a:lnTo>
                      <a:pt x="442" y="552"/>
                    </a:lnTo>
                    <a:lnTo>
                      <a:pt x="425" y="525"/>
                    </a:lnTo>
                    <a:lnTo>
                      <a:pt x="409" y="499"/>
                    </a:lnTo>
                    <a:lnTo>
                      <a:pt x="397" y="470"/>
                    </a:lnTo>
                    <a:lnTo>
                      <a:pt x="393" y="438"/>
                    </a:lnTo>
                    <a:lnTo>
                      <a:pt x="395" y="379"/>
                    </a:lnTo>
                    <a:lnTo>
                      <a:pt x="405" y="336"/>
                    </a:lnTo>
                    <a:lnTo>
                      <a:pt x="413" y="303"/>
                    </a:lnTo>
                    <a:lnTo>
                      <a:pt x="409" y="277"/>
                    </a:lnTo>
                    <a:lnTo>
                      <a:pt x="399" y="247"/>
                    </a:lnTo>
                    <a:lnTo>
                      <a:pt x="393" y="214"/>
                    </a:lnTo>
                    <a:lnTo>
                      <a:pt x="386" y="186"/>
                    </a:lnTo>
                    <a:lnTo>
                      <a:pt x="372" y="172"/>
                    </a:lnTo>
                    <a:lnTo>
                      <a:pt x="360" y="170"/>
                    </a:lnTo>
                    <a:lnTo>
                      <a:pt x="348" y="165"/>
                    </a:lnTo>
                    <a:lnTo>
                      <a:pt x="337" y="158"/>
                    </a:lnTo>
                    <a:lnTo>
                      <a:pt x="323" y="149"/>
                    </a:lnTo>
                    <a:lnTo>
                      <a:pt x="309" y="139"/>
                    </a:lnTo>
                    <a:lnTo>
                      <a:pt x="296" y="127"/>
                    </a:lnTo>
                    <a:lnTo>
                      <a:pt x="282" y="113"/>
                    </a:lnTo>
                    <a:lnTo>
                      <a:pt x="270" y="97"/>
                    </a:lnTo>
                    <a:lnTo>
                      <a:pt x="258" y="82"/>
                    </a:lnTo>
                    <a:lnTo>
                      <a:pt x="245" y="69"/>
                    </a:lnTo>
                    <a:lnTo>
                      <a:pt x="231" y="59"/>
                    </a:lnTo>
                    <a:lnTo>
                      <a:pt x="215" y="50"/>
                    </a:lnTo>
                    <a:lnTo>
                      <a:pt x="200" y="42"/>
                    </a:lnTo>
                    <a:lnTo>
                      <a:pt x="182" y="33"/>
                    </a:lnTo>
                    <a:lnTo>
                      <a:pt x="163" y="24"/>
                    </a:lnTo>
                    <a:lnTo>
                      <a:pt x="143" y="14"/>
                    </a:lnTo>
                    <a:lnTo>
                      <a:pt x="125" y="5"/>
                    </a:lnTo>
                    <a:lnTo>
                      <a:pt x="110" y="0"/>
                    </a:lnTo>
                    <a:lnTo>
                      <a:pt x="100" y="0"/>
                    </a:lnTo>
                    <a:lnTo>
                      <a:pt x="90" y="3"/>
                    </a:lnTo>
                    <a:lnTo>
                      <a:pt x="82" y="10"/>
                    </a:lnTo>
                    <a:lnTo>
                      <a:pt x="74" y="21"/>
                    </a:lnTo>
                    <a:lnTo>
                      <a:pt x="69" y="35"/>
                    </a:lnTo>
                    <a:lnTo>
                      <a:pt x="63" y="52"/>
                    </a:lnTo>
                    <a:lnTo>
                      <a:pt x="55" y="83"/>
                    </a:lnTo>
                    <a:lnTo>
                      <a:pt x="49" y="106"/>
                    </a:lnTo>
                    <a:lnTo>
                      <a:pt x="43" y="123"/>
                    </a:lnTo>
                    <a:lnTo>
                      <a:pt x="31" y="141"/>
                    </a:lnTo>
                    <a:lnTo>
                      <a:pt x="22" y="153"/>
                    </a:lnTo>
                    <a:lnTo>
                      <a:pt x="14" y="165"/>
                    </a:lnTo>
                    <a:lnTo>
                      <a:pt x="6" y="177"/>
                    </a:lnTo>
                    <a:lnTo>
                      <a:pt x="0" y="189"/>
                    </a:lnTo>
                    <a:lnTo>
                      <a:pt x="6" y="191"/>
                    </a:lnTo>
                    <a:lnTo>
                      <a:pt x="14" y="195"/>
                    </a:lnTo>
                    <a:lnTo>
                      <a:pt x="22" y="198"/>
                    </a:lnTo>
                    <a:lnTo>
                      <a:pt x="29" y="202"/>
                    </a:lnTo>
                    <a:lnTo>
                      <a:pt x="49" y="212"/>
                    </a:lnTo>
                    <a:lnTo>
                      <a:pt x="67" y="221"/>
                    </a:lnTo>
                    <a:lnTo>
                      <a:pt x="84" y="230"/>
                    </a:lnTo>
                    <a:lnTo>
                      <a:pt x="100" y="238"/>
                    </a:lnTo>
                    <a:lnTo>
                      <a:pt x="116" y="247"/>
                    </a:lnTo>
                    <a:lnTo>
                      <a:pt x="129" y="259"/>
                    </a:lnTo>
                    <a:lnTo>
                      <a:pt x="143" y="271"/>
                    </a:lnTo>
                    <a:lnTo>
                      <a:pt x="157" y="285"/>
                    </a:lnTo>
                    <a:lnTo>
                      <a:pt x="168" y="301"/>
                    </a:lnTo>
                    <a:lnTo>
                      <a:pt x="182" y="315"/>
                    </a:lnTo>
                    <a:lnTo>
                      <a:pt x="196" y="327"/>
                    </a:lnTo>
                    <a:lnTo>
                      <a:pt x="210" y="337"/>
                    </a:lnTo>
                    <a:lnTo>
                      <a:pt x="221" y="346"/>
                    </a:lnTo>
                    <a:lnTo>
                      <a:pt x="235" y="353"/>
                    </a:lnTo>
                    <a:lnTo>
                      <a:pt x="247" y="358"/>
                    </a:lnTo>
                    <a:lnTo>
                      <a:pt x="256" y="362"/>
                    </a:lnTo>
                    <a:lnTo>
                      <a:pt x="272" y="376"/>
                    </a:lnTo>
                    <a:lnTo>
                      <a:pt x="280" y="404"/>
                    </a:lnTo>
                    <a:lnTo>
                      <a:pt x="286" y="437"/>
                    </a:lnTo>
                    <a:lnTo>
                      <a:pt x="296" y="466"/>
                    </a:lnTo>
                    <a:lnTo>
                      <a:pt x="300" y="492"/>
                    </a:lnTo>
                    <a:lnTo>
                      <a:pt x="292" y="525"/>
                    </a:lnTo>
                    <a:lnTo>
                      <a:pt x="282" y="567"/>
                    </a:lnTo>
                    <a:lnTo>
                      <a:pt x="278" y="625"/>
                    </a:lnTo>
                    <a:lnTo>
                      <a:pt x="284" y="658"/>
                    </a:lnTo>
                    <a:lnTo>
                      <a:pt x="294" y="686"/>
                    </a:lnTo>
                    <a:lnTo>
                      <a:pt x="309" y="713"/>
                    </a:lnTo>
                    <a:lnTo>
                      <a:pt x="329" y="738"/>
                    </a:lnTo>
                    <a:lnTo>
                      <a:pt x="350" y="762"/>
                    </a:lnTo>
                    <a:lnTo>
                      <a:pt x="374" y="787"/>
                    </a:lnTo>
                    <a:lnTo>
                      <a:pt x="397" y="809"/>
                    </a:lnTo>
                    <a:lnTo>
                      <a:pt x="423" y="834"/>
                    </a:lnTo>
                    <a:lnTo>
                      <a:pt x="450" y="860"/>
                    </a:lnTo>
                    <a:lnTo>
                      <a:pt x="482" y="888"/>
                    </a:lnTo>
                    <a:lnTo>
                      <a:pt x="515" y="914"/>
                    </a:lnTo>
                    <a:lnTo>
                      <a:pt x="546" y="940"/>
                    </a:lnTo>
                    <a:lnTo>
                      <a:pt x="575" y="962"/>
                    </a:lnTo>
                    <a:lnTo>
                      <a:pt x="597" y="982"/>
                    </a:lnTo>
                    <a:lnTo>
                      <a:pt x="609" y="996"/>
                    </a:lnTo>
                    <a:lnTo>
                      <a:pt x="609" y="1001"/>
                    </a:lnTo>
                    <a:lnTo>
                      <a:pt x="601" y="1001"/>
                    </a:lnTo>
                    <a:lnTo>
                      <a:pt x="589" y="997"/>
                    </a:lnTo>
                    <a:lnTo>
                      <a:pt x="573" y="990"/>
                    </a:lnTo>
                    <a:lnTo>
                      <a:pt x="558" y="985"/>
                    </a:lnTo>
                    <a:lnTo>
                      <a:pt x="540" y="980"/>
                    </a:lnTo>
                    <a:lnTo>
                      <a:pt x="525" y="976"/>
                    </a:lnTo>
                    <a:lnTo>
                      <a:pt x="509" y="976"/>
                    </a:lnTo>
                    <a:lnTo>
                      <a:pt x="497" y="982"/>
                    </a:lnTo>
                    <a:lnTo>
                      <a:pt x="483" y="996"/>
                    </a:lnTo>
                    <a:lnTo>
                      <a:pt x="474" y="1006"/>
                    </a:lnTo>
                    <a:lnTo>
                      <a:pt x="466" y="1009"/>
                    </a:lnTo>
                    <a:lnTo>
                      <a:pt x="454" y="1004"/>
                    </a:lnTo>
                    <a:lnTo>
                      <a:pt x="437" y="994"/>
                    </a:lnTo>
                    <a:lnTo>
                      <a:pt x="421" y="989"/>
                    </a:lnTo>
                    <a:lnTo>
                      <a:pt x="413" y="992"/>
                    </a:lnTo>
                    <a:lnTo>
                      <a:pt x="417" y="1009"/>
                    </a:lnTo>
                    <a:lnTo>
                      <a:pt x="423" y="1022"/>
                    </a:lnTo>
                    <a:lnTo>
                      <a:pt x="427" y="1036"/>
                    </a:lnTo>
                    <a:lnTo>
                      <a:pt x="433" y="1048"/>
                    </a:lnTo>
                    <a:lnTo>
                      <a:pt x="438" y="1063"/>
                    </a:lnTo>
                    <a:lnTo>
                      <a:pt x="446" y="1079"/>
                    </a:lnTo>
                    <a:lnTo>
                      <a:pt x="458" y="1096"/>
                    </a:lnTo>
                    <a:lnTo>
                      <a:pt x="472" y="1116"/>
                    </a:lnTo>
                    <a:lnTo>
                      <a:pt x="491" y="1138"/>
                    </a:lnTo>
                    <a:lnTo>
                      <a:pt x="515" y="1161"/>
                    </a:lnTo>
                    <a:lnTo>
                      <a:pt x="538" y="1182"/>
                    </a:lnTo>
                    <a:lnTo>
                      <a:pt x="564" y="1203"/>
                    </a:lnTo>
                    <a:lnTo>
                      <a:pt x="587" y="1224"/>
                    </a:lnTo>
                    <a:lnTo>
                      <a:pt x="611" y="1243"/>
                    </a:lnTo>
                    <a:lnTo>
                      <a:pt x="632" y="1262"/>
                    </a:lnTo>
                    <a:lnTo>
                      <a:pt x="652" y="1281"/>
                    </a:lnTo>
                    <a:lnTo>
                      <a:pt x="667" y="1298"/>
                    </a:lnTo>
                    <a:lnTo>
                      <a:pt x="687" y="1330"/>
                    </a:lnTo>
                    <a:lnTo>
                      <a:pt x="695" y="1351"/>
                    </a:lnTo>
                    <a:lnTo>
                      <a:pt x="703" y="1363"/>
                    </a:lnTo>
                    <a:lnTo>
                      <a:pt x="716" y="1366"/>
                    </a:lnTo>
                    <a:lnTo>
                      <a:pt x="732" y="1366"/>
                    </a:lnTo>
                    <a:lnTo>
                      <a:pt x="740" y="1365"/>
                    </a:lnTo>
                    <a:lnTo>
                      <a:pt x="750" y="1368"/>
                    </a:lnTo>
                    <a:lnTo>
                      <a:pt x="763" y="1375"/>
                    </a:lnTo>
                    <a:lnTo>
                      <a:pt x="773" y="1380"/>
                    </a:lnTo>
                    <a:lnTo>
                      <a:pt x="785" y="1385"/>
                    </a:lnTo>
                    <a:lnTo>
                      <a:pt x="795" y="1389"/>
                    </a:lnTo>
                    <a:lnTo>
                      <a:pt x="806" y="1392"/>
                    </a:lnTo>
                    <a:lnTo>
                      <a:pt x="818" y="1396"/>
                    </a:lnTo>
                    <a:lnTo>
                      <a:pt x="828" y="1399"/>
                    </a:lnTo>
                    <a:lnTo>
                      <a:pt x="840" y="1401"/>
                    </a:lnTo>
                    <a:lnTo>
                      <a:pt x="849" y="1403"/>
                    </a:lnTo>
                    <a:lnTo>
                      <a:pt x="867" y="1410"/>
                    </a:lnTo>
                    <a:lnTo>
                      <a:pt x="881" y="1422"/>
                    </a:lnTo>
                    <a:lnTo>
                      <a:pt x="891" y="1441"/>
                    </a:lnTo>
                    <a:lnTo>
                      <a:pt x="892" y="1466"/>
                    </a:lnTo>
                    <a:lnTo>
                      <a:pt x="891" y="1495"/>
                    </a:lnTo>
                    <a:lnTo>
                      <a:pt x="891" y="1525"/>
                    </a:lnTo>
                    <a:lnTo>
                      <a:pt x="898" y="1553"/>
                    </a:lnTo>
                    <a:lnTo>
                      <a:pt x="924" y="1573"/>
                    </a:lnTo>
                    <a:lnTo>
                      <a:pt x="941" y="1582"/>
                    </a:lnTo>
                    <a:lnTo>
                      <a:pt x="959" y="1587"/>
                    </a:lnTo>
                    <a:lnTo>
                      <a:pt x="979" y="1593"/>
                    </a:lnTo>
                    <a:lnTo>
                      <a:pt x="996" y="1593"/>
                    </a:lnTo>
                    <a:lnTo>
                      <a:pt x="1018" y="1593"/>
                    </a:lnTo>
                    <a:lnTo>
                      <a:pt x="1039" y="1587"/>
                    </a:lnTo>
                    <a:lnTo>
                      <a:pt x="1063" y="1580"/>
                    </a:lnTo>
                    <a:lnTo>
                      <a:pt x="1090" y="1570"/>
                    </a:lnTo>
                    <a:lnTo>
                      <a:pt x="1118" y="1560"/>
                    </a:lnTo>
                    <a:lnTo>
                      <a:pt x="1145" y="1554"/>
                    </a:lnTo>
                    <a:lnTo>
                      <a:pt x="1170" y="1551"/>
                    </a:lnTo>
                    <a:lnTo>
                      <a:pt x="1192" y="1551"/>
                    </a:lnTo>
                    <a:lnTo>
                      <a:pt x="1209" y="1554"/>
                    </a:lnTo>
                    <a:lnTo>
                      <a:pt x="1219" y="1558"/>
                    </a:lnTo>
                    <a:lnTo>
                      <a:pt x="1221" y="1561"/>
                    </a:lnTo>
                    <a:lnTo>
                      <a:pt x="1215" y="1565"/>
                    </a:lnTo>
                    <a:lnTo>
                      <a:pt x="1200" y="1570"/>
                    </a:lnTo>
                    <a:lnTo>
                      <a:pt x="1198" y="1575"/>
                    </a:lnTo>
                    <a:lnTo>
                      <a:pt x="1208" y="1577"/>
                    </a:lnTo>
                    <a:lnTo>
                      <a:pt x="1231" y="1579"/>
                    </a:lnTo>
                    <a:lnTo>
                      <a:pt x="1245" y="1580"/>
                    </a:lnTo>
                    <a:lnTo>
                      <a:pt x="1256" y="1584"/>
                    </a:lnTo>
                    <a:lnTo>
                      <a:pt x="1268" y="1589"/>
                    </a:lnTo>
                    <a:lnTo>
                      <a:pt x="1280" y="1596"/>
                    </a:lnTo>
                    <a:lnTo>
                      <a:pt x="1290" y="1603"/>
                    </a:lnTo>
                    <a:lnTo>
                      <a:pt x="1301" y="1612"/>
                    </a:lnTo>
                    <a:lnTo>
                      <a:pt x="1313" y="1617"/>
                    </a:lnTo>
                    <a:lnTo>
                      <a:pt x="1327" y="1622"/>
                    </a:lnTo>
                    <a:lnTo>
                      <a:pt x="1345" y="1626"/>
                    </a:lnTo>
                    <a:lnTo>
                      <a:pt x="1370" y="1631"/>
                    </a:lnTo>
                    <a:lnTo>
                      <a:pt x="1397" y="1638"/>
                    </a:lnTo>
                    <a:lnTo>
                      <a:pt x="1429" y="1645"/>
                    </a:lnTo>
                    <a:lnTo>
                      <a:pt x="1458" y="1655"/>
                    </a:lnTo>
                    <a:lnTo>
                      <a:pt x="1485" y="1667"/>
                    </a:lnTo>
                    <a:lnTo>
                      <a:pt x="1509" y="1681"/>
                    </a:lnTo>
                    <a:lnTo>
                      <a:pt x="1525" y="1697"/>
                    </a:lnTo>
                    <a:lnTo>
                      <a:pt x="1538" y="1716"/>
                    </a:lnTo>
                    <a:lnTo>
                      <a:pt x="1556" y="1737"/>
                    </a:lnTo>
                    <a:lnTo>
                      <a:pt x="1575" y="1758"/>
                    </a:lnTo>
                    <a:lnTo>
                      <a:pt x="1599" y="1779"/>
                    </a:lnTo>
                    <a:lnTo>
                      <a:pt x="1620" y="1800"/>
                    </a:lnTo>
                    <a:lnTo>
                      <a:pt x="1644" y="1815"/>
                    </a:lnTo>
                    <a:lnTo>
                      <a:pt x="1665" y="1829"/>
                    </a:lnTo>
                    <a:lnTo>
                      <a:pt x="1685" y="1840"/>
                    </a:lnTo>
                    <a:lnTo>
                      <a:pt x="1703" y="1847"/>
                    </a:lnTo>
                    <a:lnTo>
                      <a:pt x="1716" y="1852"/>
                    </a:lnTo>
                    <a:lnTo>
                      <a:pt x="1730" y="1857"/>
                    </a:lnTo>
                    <a:lnTo>
                      <a:pt x="1742" y="1862"/>
                    </a:lnTo>
                    <a:lnTo>
                      <a:pt x="1753" y="1869"/>
                    </a:lnTo>
                    <a:lnTo>
                      <a:pt x="1763" y="1876"/>
                    </a:lnTo>
                    <a:lnTo>
                      <a:pt x="1773" y="1887"/>
                    </a:lnTo>
                    <a:lnTo>
                      <a:pt x="1781" y="1897"/>
                    </a:lnTo>
                    <a:lnTo>
                      <a:pt x="1789" y="1908"/>
                    </a:lnTo>
                    <a:lnTo>
                      <a:pt x="1800" y="1915"/>
                    </a:lnTo>
                    <a:lnTo>
                      <a:pt x="1810" y="1922"/>
                    </a:lnTo>
                    <a:lnTo>
                      <a:pt x="1822" y="1927"/>
                    </a:lnTo>
                    <a:lnTo>
                      <a:pt x="1832" y="1932"/>
                    </a:lnTo>
                    <a:lnTo>
                      <a:pt x="1844" y="1939"/>
                    </a:lnTo>
                    <a:lnTo>
                      <a:pt x="1853" y="1950"/>
                    </a:lnTo>
                    <a:lnTo>
                      <a:pt x="1861" y="1963"/>
                    </a:lnTo>
                    <a:lnTo>
                      <a:pt x="1869" y="1977"/>
                    </a:lnTo>
                    <a:lnTo>
                      <a:pt x="1879" y="1988"/>
                    </a:lnTo>
                    <a:lnTo>
                      <a:pt x="1887" y="1995"/>
                    </a:lnTo>
                    <a:lnTo>
                      <a:pt x="1896" y="1998"/>
                    </a:lnTo>
                    <a:lnTo>
                      <a:pt x="1906" y="2002"/>
                    </a:lnTo>
                    <a:lnTo>
                      <a:pt x="1916" y="2003"/>
                    </a:lnTo>
                    <a:lnTo>
                      <a:pt x="1926" y="2003"/>
                    </a:lnTo>
                    <a:lnTo>
                      <a:pt x="1935" y="2005"/>
                    </a:lnTo>
                    <a:lnTo>
                      <a:pt x="1947" y="2007"/>
                    </a:lnTo>
                    <a:lnTo>
                      <a:pt x="1959" y="2005"/>
                    </a:lnTo>
                    <a:lnTo>
                      <a:pt x="1971" y="2003"/>
                    </a:lnTo>
                    <a:lnTo>
                      <a:pt x="1982" y="2000"/>
                    </a:lnTo>
                    <a:lnTo>
                      <a:pt x="1994" y="1993"/>
                    </a:lnTo>
                    <a:lnTo>
                      <a:pt x="2002" y="1986"/>
                    </a:lnTo>
                    <a:lnTo>
                      <a:pt x="2008" y="1979"/>
                    </a:lnTo>
                    <a:lnTo>
                      <a:pt x="2010" y="1969"/>
                    </a:lnTo>
                    <a:lnTo>
                      <a:pt x="2010" y="1956"/>
                    </a:lnTo>
                    <a:lnTo>
                      <a:pt x="2006" y="1946"/>
                    </a:lnTo>
                    <a:lnTo>
                      <a:pt x="2002" y="1934"/>
                    </a:lnTo>
                    <a:lnTo>
                      <a:pt x="1996" y="1922"/>
                    </a:lnTo>
                    <a:lnTo>
                      <a:pt x="1986" y="1911"/>
                    </a:lnTo>
                    <a:lnTo>
                      <a:pt x="1977" y="1901"/>
                    </a:lnTo>
                    <a:lnTo>
                      <a:pt x="1963" y="1892"/>
                    </a:lnTo>
                    <a:lnTo>
                      <a:pt x="1945" y="1883"/>
                    </a:lnTo>
                    <a:lnTo>
                      <a:pt x="1928" y="1875"/>
                    </a:lnTo>
                    <a:lnTo>
                      <a:pt x="1910" y="1866"/>
                    </a:lnTo>
                    <a:lnTo>
                      <a:pt x="1892" y="1856"/>
                    </a:lnTo>
                    <a:lnTo>
                      <a:pt x="1877" y="1845"/>
                    </a:lnTo>
                    <a:lnTo>
                      <a:pt x="1861" y="1833"/>
                    </a:lnTo>
                    <a:lnTo>
                      <a:pt x="1849" y="1822"/>
                    </a:lnTo>
                    <a:lnTo>
                      <a:pt x="1840" y="1812"/>
                    </a:lnTo>
                    <a:lnTo>
                      <a:pt x="1834" y="1802"/>
                    </a:lnTo>
                    <a:lnTo>
                      <a:pt x="1826" y="1788"/>
                    </a:lnTo>
                    <a:lnTo>
                      <a:pt x="1814" y="1779"/>
                    </a:lnTo>
                    <a:lnTo>
                      <a:pt x="1798" y="1772"/>
                    </a:lnTo>
                    <a:lnTo>
                      <a:pt x="1781" y="1760"/>
                    </a:lnTo>
                    <a:lnTo>
                      <a:pt x="1771" y="1749"/>
                    </a:lnTo>
                    <a:lnTo>
                      <a:pt x="1763" y="1730"/>
                    </a:lnTo>
                    <a:lnTo>
                      <a:pt x="1757" y="1708"/>
                    </a:lnTo>
                    <a:lnTo>
                      <a:pt x="1752" y="1681"/>
                    </a:lnTo>
                    <a:lnTo>
                      <a:pt x="1744" y="1657"/>
                    </a:lnTo>
                    <a:lnTo>
                      <a:pt x="1736" y="1633"/>
                    </a:lnTo>
                    <a:lnTo>
                      <a:pt x="1728" y="1612"/>
                    </a:lnTo>
                    <a:lnTo>
                      <a:pt x="1716" y="1598"/>
                    </a:lnTo>
                    <a:lnTo>
                      <a:pt x="1703" y="1587"/>
                    </a:lnTo>
                    <a:lnTo>
                      <a:pt x="1685" y="1577"/>
                    </a:lnTo>
                    <a:lnTo>
                      <a:pt x="1663" y="1567"/>
                    </a:lnTo>
                    <a:lnTo>
                      <a:pt x="1644" y="1558"/>
                    </a:lnTo>
                    <a:lnTo>
                      <a:pt x="1622" y="1547"/>
                    </a:lnTo>
                    <a:lnTo>
                      <a:pt x="1603" y="1535"/>
                    </a:lnTo>
                    <a:lnTo>
                      <a:pt x="1589" y="1525"/>
                    </a:lnTo>
                    <a:lnTo>
                      <a:pt x="1577" y="1513"/>
                    </a:lnTo>
                    <a:lnTo>
                      <a:pt x="1572" y="1504"/>
                    </a:lnTo>
                    <a:lnTo>
                      <a:pt x="1564" y="1495"/>
                    </a:lnTo>
                    <a:lnTo>
                      <a:pt x="1554" y="1488"/>
                    </a:lnTo>
                    <a:lnTo>
                      <a:pt x="1542" y="1479"/>
                    </a:lnTo>
                    <a:lnTo>
                      <a:pt x="1530" y="1471"/>
                    </a:lnTo>
                    <a:lnTo>
                      <a:pt x="1519" y="1462"/>
                    </a:lnTo>
                    <a:lnTo>
                      <a:pt x="1507" y="1453"/>
                    </a:lnTo>
                    <a:lnTo>
                      <a:pt x="1495" y="1445"/>
                    </a:lnTo>
                    <a:lnTo>
                      <a:pt x="1478" y="1441"/>
                    </a:lnTo>
                    <a:lnTo>
                      <a:pt x="1464" y="1438"/>
                    </a:lnTo>
                    <a:lnTo>
                      <a:pt x="1452" y="1436"/>
                    </a:lnTo>
                    <a:lnTo>
                      <a:pt x="1442" y="1432"/>
                    </a:lnTo>
                    <a:lnTo>
                      <a:pt x="1429" y="1429"/>
                    </a:lnTo>
                    <a:lnTo>
                      <a:pt x="1417" y="1422"/>
                    </a:lnTo>
                    <a:lnTo>
                      <a:pt x="1405" y="1415"/>
                    </a:lnTo>
                    <a:lnTo>
                      <a:pt x="1395" y="1408"/>
                    </a:lnTo>
                    <a:lnTo>
                      <a:pt x="1384" y="1401"/>
                    </a:lnTo>
                    <a:lnTo>
                      <a:pt x="1372" y="1396"/>
                    </a:lnTo>
                    <a:lnTo>
                      <a:pt x="1360" y="1392"/>
                    </a:lnTo>
                    <a:lnTo>
                      <a:pt x="1346" y="1391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CC9900"/>
                  </a:gs>
                  <a:gs pos="100000">
                    <a:srgbClr val="5E4700"/>
                  </a:gs>
                </a:gsLst>
                <a:lin ang="5400000" scaled="1"/>
              </a:gra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grpSp>
            <p:nvGrpSpPr>
              <p:cNvPr id="187" name="Group 46"/>
              <p:cNvGrpSpPr>
                <a:grpSpLocks/>
              </p:cNvGrpSpPr>
              <p:nvPr/>
            </p:nvGrpSpPr>
            <p:grpSpPr bwMode="auto">
              <a:xfrm>
                <a:off x="3924" y="2433"/>
                <a:ext cx="680" cy="295"/>
                <a:chOff x="3878" y="2437"/>
                <a:chExt cx="680" cy="263"/>
              </a:xfrm>
            </p:grpSpPr>
            <p:sp>
              <p:nvSpPr>
                <p:cNvPr id="204" name="Text Box 47"/>
                <p:cNvSpPr txBox="1">
                  <a:spLocks noChangeArrowheads="1"/>
                </p:cNvSpPr>
                <p:nvPr/>
              </p:nvSpPr>
              <p:spPr bwMode="auto">
                <a:xfrm>
                  <a:off x="3912" y="2535"/>
                  <a:ext cx="613" cy="65"/>
                </a:xfrm>
                <a:prstGeom prst="rect">
                  <a:avLst/>
                </a:prstGeom>
                <a:noFill/>
                <a:ln>
                  <a:noFill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p3d prstMaterial="metal">
                  <a:bevelT w="88900" h="889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9pPr>
                </a:lstStyle>
                <a:p>
                  <a:pPr algn="ctr" eaLnBrk="1" hangingPunct="1">
                    <a:lnSpc>
                      <a:spcPct val="70000"/>
                    </a:lnSpc>
                    <a:spcBef>
                      <a:spcPct val="50000"/>
                    </a:spcBef>
                    <a:buFont typeface="Wingdings" pitchFamily="2" charset="2"/>
                    <a:buNone/>
                  </a:pPr>
                  <a:r>
                    <a:rPr lang="hr-HR" altLang="sr-Latn-RS" sz="900" b="1" dirty="0">
                      <a:latin typeface="Frutiger 55 Roman"/>
                    </a:rPr>
                    <a:t>ZAGREB</a:t>
                  </a:r>
                  <a:endParaRPr lang="hr-HR" altLang="sr-Latn-RS" sz="750" dirty="0">
                    <a:latin typeface="Frutiger 55 Roman"/>
                  </a:endParaRPr>
                </a:p>
              </p:txBody>
            </p:sp>
            <p:sp>
              <p:nvSpPr>
                <p:cNvPr id="205" name="Oval 48"/>
                <p:cNvSpPr>
                  <a:spLocks noChangeArrowheads="1"/>
                </p:cNvSpPr>
                <p:nvPr/>
              </p:nvSpPr>
              <p:spPr bwMode="auto">
                <a:xfrm>
                  <a:off x="3878" y="2437"/>
                  <a:ext cx="680" cy="263"/>
                </a:xfrm>
                <a:prstGeom prst="ellips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p3d prstMaterial="metal">
                  <a:bevelT w="88900" h="889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9pPr>
                </a:lstStyle>
                <a:p>
                  <a:pPr eaLnBrk="1" hangingPunct="1"/>
                  <a:endParaRPr lang="sr-Latn-RS" altLang="sr-Latn-RS"/>
                </a:p>
              </p:txBody>
            </p:sp>
          </p:grpSp>
          <p:sp>
            <p:nvSpPr>
              <p:cNvPr id="188" name="Freeform 49"/>
              <p:cNvSpPr>
                <a:spLocks/>
              </p:cNvSpPr>
              <p:nvPr/>
            </p:nvSpPr>
            <p:spPr bwMode="auto">
              <a:xfrm>
                <a:off x="4087" y="2930"/>
                <a:ext cx="1334" cy="279"/>
              </a:xfrm>
              <a:custGeom>
                <a:avLst/>
                <a:gdLst>
                  <a:gd name="T0" fmla="*/ 1 w 1920"/>
                  <a:gd name="T1" fmla="*/ 1 h 464"/>
                  <a:gd name="T2" fmla="*/ 1 w 1920"/>
                  <a:gd name="T3" fmla="*/ 1 h 464"/>
                  <a:gd name="T4" fmla="*/ 1 w 1920"/>
                  <a:gd name="T5" fmla="*/ 1 h 464"/>
                  <a:gd name="T6" fmla="*/ 1 w 1920"/>
                  <a:gd name="T7" fmla="*/ 1 h 464"/>
                  <a:gd name="T8" fmla="*/ 1 w 1920"/>
                  <a:gd name="T9" fmla="*/ 1 h 464"/>
                  <a:gd name="T10" fmla="*/ 1 w 1920"/>
                  <a:gd name="T11" fmla="*/ 1 h 464"/>
                  <a:gd name="T12" fmla="*/ 1 w 1920"/>
                  <a:gd name="T13" fmla="*/ 1 h 464"/>
                  <a:gd name="T14" fmla="*/ 1 w 1920"/>
                  <a:gd name="T15" fmla="*/ 1 h 464"/>
                  <a:gd name="T16" fmla="*/ 1 w 1920"/>
                  <a:gd name="T17" fmla="*/ 1 h 464"/>
                  <a:gd name="T18" fmla="*/ 1 w 1920"/>
                  <a:gd name="T19" fmla="*/ 1 h 464"/>
                  <a:gd name="T20" fmla="*/ 1 w 1920"/>
                  <a:gd name="T21" fmla="*/ 1 h 464"/>
                  <a:gd name="T22" fmla="*/ 1 w 1920"/>
                  <a:gd name="T23" fmla="*/ 1 h 464"/>
                  <a:gd name="T24" fmla="*/ 1 w 1920"/>
                  <a:gd name="T25" fmla="*/ 1 h 464"/>
                  <a:gd name="T26" fmla="*/ 1 w 1920"/>
                  <a:gd name="T27" fmla="*/ 1 h 464"/>
                  <a:gd name="T28" fmla="*/ 1 w 1920"/>
                  <a:gd name="T29" fmla="*/ 1 h 464"/>
                  <a:gd name="T30" fmla="*/ 1 w 1920"/>
                  <a:gd name="T31" fmla="*/ 1 h 464"/>
                  <a:gd name="T32" fmla="*/ 1 w 1920"/>
                  <a:gd name="T33" fmla="*/ 1 h 464"/>
                  <a:gd name="T34" fmla="*/ 1 w 1920"/>
                  <a:gd name="T35" fmla="*/ 1 h 464"/>
                  <a:gd name="T36" fmla="*/ 1 w 1920"/>
                  <a:gd name="T37" fmla="*/ 1 h 464"/>
                  <a:gd name="T38" fmla="*/ 1 w 1920"/>
                  <a:gd name="T39" fmla="*/ 1 h 464"/>
                  <a:gd name="T40" fmla="*/ 1 w 1920"/>
                  <a:gd name="T41" fmla="*/ 1 h 464"/>
                  <a:gd name="T42" fmla="*/ 1 w 1920"/>
                  <a:gd name="T43" fmla="*/ 1 h 464"/>
                  <a:gd name="T44" fmla="*/ 1 w 1920"/>
                  <a:gd name="T45" fmla="*/ 1 h 464"/>
                  <a:gd name="T46" fmla="*/ 1 w 1920"/>
                  <a:gd name="T47" fmla="*/ 1 h 464"/>
                  <a:gd name="T48" fmla="*/ 1 w 1920"/>
                  <a:gd name="T49" fmla="*/ 1 h 464"/>
                  <a:gd name="T50" fmla="*/ 1 w 1920"/>
                  <a:gd name="T51" fmla="*/ 1 h 464"/>
                  <a:gd name="T52" fmla="*/ 1 w 1920"/>
                  <a:gd name="T53" fmla="*/ 1 h 464"/>
                  <a:gd name="T54" fmla="*/ 1 w 1920"/>
                  <a:gd name="T55" fmla="*/ 1 h 464"/>
                  <a:gd name="T56" fmla="*/ 1 w 1920"/>
                  <a:gd name="T57" fmla="*/ 1 h 464"/>
                  <a:gd name="T58" fmla="*/ 1 w 1920"/>
                  <a:gd name="T59" fmla="*/ 1 h 464"/>
                  <a:gd name="T60" fmla="*/ 1 w 1920"/>
                  <a:gd name="T61" fmla="*/ 1 h 464"/>
                  <a:gd name="T62" fmla="*/ 1 w 1920"/>
                  <a:gd name="T63" fmla="*/ 1 h 464"/>
                  <a:gd name="T64" fmla="*/ 1 w 1920"/>
                  <a:gd name="T65" fmla="*/ 1 h 464"/>
                  <a:gd name="T66" fmla="*/ 1 w 1920"/>
                  <a:gd name="T67" fmla="*/ 1 h 464"/>
                  <a:gd name="T68" fmla="*/ 1 w 1920"/>
                  <a:gd name="T69" fmla="*/ 1 h 464"/>
                  <a:gd name="T70" fmla="*/ 1 w 1920"/>
                  <a:gd name="T71" fmla="*/ 1 h 464"/>
                  <a:gd name="T72" fmla="*/ 1 w 1920"/>
                  <a:gd name="T73" fmla="*/ 1 h 464"/>
                  <a:gd name="T74" fmla="*/ 1 w 1920"/>
                  <a:gd name="T75" fmla="*/ 1 h 464"/>
                  <a:gd name="T76" fmla="*/ 1 w 1920"/>
                  <a:gd name="T77" fmla="*/ 1 h 464"/>
                  <a:gd name="T78" fmla="*/ 1 w 1920"/>
                  <a:gd name="T79" fmla="*/ 1 h 464"/>
                  <a:gd name="T80" fmla="*/ 1 w 1920"/>
                  <a:gd name="T81" fmla="*/ 1 h 464"/>
                  <a:gd name="T82" fmla="*/ 1 w 1920"/>
                  <a:gd name="T83" fmla="*/ 1 h 464"/>
                  <a:gd name="T84" fmla="*/ 1 w 1920"/>
                  <a:gd name="T85" fmla="*/ 1 h 464"/>
                  <a:gd name="T86" fmla="*/ 1 w 1920"/>
                  <a:gd name="T87" fmla="*/ 1 h 464"/>
                  <a:gd name="T88" fmla="*/ 1 w 1920"/>
                  <a:gd name="T89" fmla="*/ 1 h 464"/>
                  <a:gd name="T90" fmla="*/ 1 w 1920"/>
                  <a:gd name="T91" fmla="*/ 1 h 464"/>
                  <a:gd name="T92" fmla="*/ 1 w 1920"/>
                  <a:gd name="T93" fmla="*/ 1 h 464"/>
                  <a:gd name="T94" fmla="*/ 1 w 1920"/>
                  <a:gd name="T95" fmla="*/ 1 h 464"/>
                  <a:gd name="T96" fmla="*/ 1 w 1920"/>
                  <a:gd name="T97" fmla="*/ 1 h 464"/>
                  <a:gd name="T98" fmla="*/ 1 w 1920"/>
                  <a:gd name="T99" fmla="*/ 1 h 464"/>
                  <a:gd name="T100" fmla="*/ 1 w 1920"/>
                  <a:gd name="T101" fmla="*/ 1 h 464"/>
                  <a:gd name="T102" fmla="*/ 1 w 1920"/>
                  <a:gd name="T103" fmla="*/ 1 h 464"/>
                  <a:gd name="T104" fmla="*/ 1 w 1920"/>
                  <a:gd name="T105" fmla="*/ 1 h 46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920"/>
                  <a:gd name="T160" fmla="*/ 0 h 464"/>
                  <a:gd name="T161" fmla="*/ 1920 w 1920"/>
                  <a:gd name="T162" fmla="*/ 464 h 464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920" h="464">
                    <a:moveTo>
                      <a:pt x="1859" y="276"/>
                    </a:moveTo>
                    <a:lnTo>
                      <a:pt x="1844" y="273"/>
                    </a:lnTo>
                    <a:lnTo>
                      <a:pt x="1828" y="268"/>
                    </a:lnTo>
                    <a:lnTo>
                      <a:pt x="1813" y="259"/>
                    </a:lnTo>
                    <a:lnTo>
                      <a:pt x="1801" y="248"/>
                    </a:lnTo>
                    <a:lnTo>
                      <a:pt x="1789" y="238"/>
                    </a:lnTo>
                    <a:lnTo>
                      <a:pt x="1781" y="228"/>
                    </a:lnTo>
                    <a:lnTo>
                      <a:pt x="1775" y="215"/>
                    </a:lnTo>
                    <a:lnTo>
                      <a:pt x="1773" y="205"/>
                    </a:lnTo>
                    <a:lnTo>
                      <a:pt x="1771" y="186"/>
                    </a:lnTo>
                    <a:lnTo>
                      <a:pt x="1766" y="168"/>
                    </a:lnTo>
                    <a:lnTo>
                      <a:pt x="1754" y="153"/>
                    </a:lnTo>
                    <a:lnTo>
                      <a:pt x="1736" y="134"/>
                    </a:lnTo>
                    <a:lnTo>
                      <a:pt x="1726" y="123"/>
                    </a:lnTo>
                    <a:lnTo>
                      <a:pt x="1717" y="114"/>
                    </a:lnTo>
                    <a:lnTo>
                      <a:pt x="1707" y="107"/>
                    </a:lnTo>
                    <a:lnTo>
                      <a:pt x="1697" y="102"/>
                    </a:lnTo>
                    <a:lnTo>
                      <a:pt x="1687" y="99"/>
                    </a:lnTo>
                    <a:lnTo>
                      <a:pt x="1676" y="99"/>
                    </a:lnTo>
                    <a:lnTo>
                      <a:pt x="1666" y="102"/>
                    </a:lnTo>
                    <a:lnTo>
                      <a:pt x="1656" y="109"/>
                    </a:lnTo>
                    <a:lnTo>
                      <a:pt x="1646" y="116"/>
                    </a:lnTo>
                    <a:lnTo>
                      <a:pt x="1633" y="116"/>
                    </a:lnTo>
                    <a:lnTo>
                      <a:pt x="1619" y="114"/>
                    </a:lnTo>
                    <a:lnTo>
                      <a:pt x="1607" y="109"/>
                    </a:lnTo>
                    <a:lnTo>
                      <a:pt x="1595" y="102"/>
                    </a:lnTo>
                    <a:lnTo>
                      <a:pt x="1586" y="97"/>
                    </a:lnTo>
                    <a:lnTo>
                      <a:pt x="1578" y="92"/>
                    </a:lnTo>
                    <a:lnTo>
                      <a:pt x="1576" y="90"/>
                    </a:lnTo>
                    <a:lnTo>
                      <a:pt x="1513" y="81"/>
                    </a:lnTo>
                    <a:lnTo>
                      <a:pt x="1507" y="81"/>
                    </a:lnTo>
                    <a:lnTo>
                      <a:pt x="1492" y="80"/>
                    </a:lnTo>
                    <a:lnTo>
                      <a:pt x="1476" y="83"/>
                    </a:lnTo>
                    <a:lnTo>
                      <a:pt x="1470" y="90"/>
                    </a:lnTo>
                    <a:lnTo>
                      <a:pt x="1466" y="97"/>
                    </a:lnTo>
                    <a:lnTo>
                      <a:pt x="1456" y="102"/>
                    </a:lnTo>
                    <a:lnTo>
                      <a:pt x="1441" y="109"/>
                    </a:lnTo>
                    <a:lnTo>
                      <a:pt x="1423" y="113"/>
                    </a:lnTo>
                    <a:lnTo>
                      <a:pt x="1404" y="113"/>
                    </a:lnTo>
                    <a:lnTo>
                      <a:pt x="1386" y="111"/>
                    </a:lnTo>
                    <a:lnTo>
                      <a:pt x="1372" y="104"/>
                    </a:lnTo>
                    <a:lnTo>
                      <a:pt x="1362" y="90"/>
                    </a:lnTo>
                    <a:lnTo>
                      <a:pt x="1349" y="71"/>
                    </a:lnTo>
                    <a:lnTo>
                      <a:pt x="1337" y="69"/>
                    </a:lnTo>
                    <a:lnTo>
                      <a:pt x="1325" y="76"/>
                    </a:lnTo>
                    <a:lnTo>
                      <a:pt x="1321" y="81"/>
                    </a:lnTo>
                    <a:lnTo>
                      <a:pt x="1306" y="101"/>
                    </a:lnTo>
                    <a:lnTo>
                      <a:pt x="1286" y="114"/>
                    </a:lnTo>
                    <a:lnTo>
                      <a:pt x="1263" y="123"/>
                    </a:lnTo>
                    <a:lnTo>
                      <a:pt x="1239" y="127"/>
                    </a:lnTo>
                    <a:lnTo>
                      <a:pt x="1216" y="125"/>
                    </a:lnTo>
                    <a:lnTo>
                      <a:pt x="1196" y="120"/>
                    </a:lnTo>
                    <a:lnTo>
                      <a:pt x="1179" y="111"/>
                    </a:lnTo>
                    <a:lnTo>
                      <a:pt x="1167" y="101"/>
                    </a:lnTo>
                    <a:lnTo>
                      <a:pt x="1159" y="90"/>
                    </a:lnTo>
                    <a:lnTo>
                      <a:pt x="1149" y="83"/>
                    </a:lnTo>
                    <a:lnTo>
                      <a:pt x="1139" y="80"/>
                    </a:lnTo>
                    <a:lnTo>
                      <a:pt x="1130" y="78"/>
                    </a:lnTo>
                    <a:lnTo>
                      <a:pt x="1122" y="78"/>
                    </a:lnTo>
                    <a:lnTo>
                      <a:pt x="1114" y="80"/>
                    </a:lnTo>
                    <a:lnTo>
                      <a:pt x="1110" y="81"/>
                    </a:lnTo>
                    <a:lnTo>
                      <a:pt x="1108" y="81"/>
                    </a:lnTo>
                    <a:lnTo>
                      <a:pt x="1085" y="90"/>
                    </a:lnTo>
                    <a:lnTo>
                      <a:pt x="1063" y="92"/>
                    </a:lnTo>
                    <a:lnTo>
                      <a:pt x="1040" y="90"/>
                    </a:lnTo>
                    <a:lnTo>
                      <a:pt x="1018" y="85"/>
                    </a:lnTo>
                    <a:lnTo>
                      <a:pt x="1000" y="76"/>
                    </a:lnTo>
                    <a:lnTo>
                      <a:pt x="987" y="69"/>
                    </a:lnTo>
                    <a:lnTo>
                      <a:pt x="977" y="64"/>
                    </a:lnTo>
                    <a:lnTo>
                      <a:pt x="973" y="62"/>
                    </a:lnTo>
                    <a:lnTo>
                      <a:pt x="961" y="66"/>
                    </a:lnTo>
                    <a:lnTo>
                      <a:pt x="948" y="67"/>
                    </a:lnTo>
                    <a:lnTo>
                      <a:pt x="934" y="66"/>
                    </a:lnTo>
                    <a:lnTo>
                      <a:pt x="922" y="62"/>
                    </a:lnTo>
                    <a:lnTo>
                      <a:pt x="910" y="60"/>
                    </a:lnTo>
                    <a:lnTo>
                      <a:pt x="903" y="57"/>
                    </a:lnTo>
                    <a:lnTo>
                      <a:pt x="897" y="55"/>
                    </a:lnTo>
                    <a:lnTo>
                      <a:pt x="895" y="54"/>
                    </a:lnTo>
                    <a:lnTo>
                      <a:pt x="875" y="60"/>
                    </a:lnTo>
                    <a:lnTo>
                      <a:pt x="856" y="64"/>
                    </a:lnTo>
                    <a:lnTo>
                      <a:pt x="836" y="66"/>
                    </a:lnTo>
                    <a:lnTo>
                      <a:pt x="818" y="64"/>
                    </a:lnTo>
                    <a:lnTo>
                      <a:pt x="801" y="62"/>
                    </a:lnTo>
                    <a:lnTo>
                      <a:pt x="785" y="59"/>
                    </a:lnTo>
                    <a:lnTo>
                      <a:pt x="773" y="54"/>
                    </a:lnTo>
                    <a:lnTo>
                      <a:pt x="766" y="48"/>
                    </a:lnTo>
                    <a:lnTo>
                      <a:pt x="758" y="41"/>
                    </a:lnTo>
                    <a:lnTo>
                      <a:pt x="748" y="33"/>
                    </a:lnTo>
                    <a:lnTo>
                      <a:pt x="736" y="22"/>
                    </a:lnTo>
                    <a:lnTo>
                      <a:pt x="723" y="12"/>
                    </a:lnTo>
                    <a:lnTo>
                      <a:pt x="709" y="5"/>
                    </a:lnTo>
                    <a:lnTo>
                      <a:pt x="693" y="0"/>
                    </a:lnTo>
                    <a:lnTo>
                      <a:pt x="676" y="1"/>
                    </a:lnTo>
                    <a:lnTo>
                      <a:pt x="660" y="10"/>
                    </a:lnTo>
                    <a:lnTo>
                      <a:pt x="642" y="20"/>
                    </a:lnTo>
                    <a:lnTo>
                      <a:pt x="623" y="27"/>
                    </a:lnTo>
                    <a:lnTo>
                      <a:pt x="603" y="29"/>
                    </a:lnTo>
                    <a:lnTo>
                      <a:pt x="584" y="31"/>
                    </a:lnTo>
                    <a:lnTo>
                      <a:pt x="564" y="29"/>
                    </a:lnTo>
                    <a:lnTo>
                      <a:pt x="544" y="26"/>
                    </a:lnTo>
                    <a:lnTo>
                      <a:pt x="529" y="20"/>
                    </a:lnTo>
                    <a:lnTo>
                      <a:pt x="515" y="15"/>
                    </a:lnTo>
                    <a:lnTo>
                      <a:pt x="503" y="10"/>
                    </a:lnTo>
                    <a:lnTo>
                      <a:pt x="492" y="8"/>
                    </a:lnTo>
                    <a:lnTo>
                      <a:pt x="482" y="7"/>
                    </a:lnTo>
                    <a:lnTo>
                      <a:pt x="472" y="7"/>
                    </a:lnTo>
                    <a:lnTo>
                      <a:pt x="462" y="8"/>
                    </a:lnTo>
                    <a:lnTo>
                      <a:pt x="454" y="10"/>
                    </a:lnTo>
                    <a:lnTo>
                      <a:pt x="447" y="13"/>
                    </a:lnTo>
                    <a:lnTo>
                      <a:pt x="441" y="19"/>
                    </a:lnTo>
                    <a:lnTo>
                      <a:pt x="433" y="27"/>
                    </a:lnTo>
                    <a:lnTo>
                      <a:pt x="425" y="40"/>
                    </a:lnTo>
                    <a:lnTo>
                      <a:pt x="415" y="54"/>
                    </a:lnTo>
                    <a:lnTo>
                      <a:pt x="406" y="71"/>
                    </a:lnTo>
                    <a:lnTo>
                      <a:pt x="396" y="88"/>
                    </a:lnTo>
                    <a:lnTo>
                      <a:pt x="386" y="104"/>
                    </a:lnTo>
                    <a:lnTo>
                      <a:pt x="380" y="118"/>
                    </a:lnTo>
                    <a:lnTo>
                      <a:pt x="376" y="128"/>
                    </a:lnTo>
                    <a:lnTo>
                      <a:pt x="374" y="137"/>
                    </a:lnTo>
                    <a:lnTo>
                      <a:pt x="368" y="148"/>
                    </a:lnTo>
                    <a:lnTo>
                      <a:pt x="362" y="156"/>
                    </a:lnTo>
                    <a:lnTo>
                      <a:pt x="355" y="163"/>
                    </a:lnTo>
                    <a:lnTo>
                      <a:pt x="345" y="170"/>
                    </a:lnTo>
                    <a:lnTo>
                      <a:pt x="333" y="175"/>
                    </a:lnTo>
                    <a:lnTo>
                      <a:pt x="321" y="179"/>
                    </a:lnTo>
                    <a:lnTo>
                      <a:pt x="308" y="181"/>
                    </a:lnTo>
                    <a:lnTo>
                      <a:pt x="294" y="181"/>
                    </a:lnTo>
                    <a:lnTo>
                      <a:pt x="280" y="179"/>
                    </a:lnTo>
                    <a:lnTo>
                      <a:pt x="269" y="175"/>
                    </a:lnTo>
                    <a:lnTo>
                      <a:pt x="257" y="170"/>
                    </a:lnTo>
                    <a:lnTo>
                      <a:pt x="245" y="165"/>
                    </a:lnTo>
                    <a:lnTo>
                      <a:pt x="237" y="158"/>
                    </a:lnTo>
                    <a:lnTo>
                      <a:pt x="229" y="151"/>
                    </a:lnTo>
                    <a:lnTo>
                      <a:pt x="224" y="142"/>
                    </a:lnTo>
                    <a:lnTo>
                      <a:pt x="220" y="134"/>
                    </a:lnTo>
                    <a:lnTo>
                      <a:pt x="216" y="125"/>
                    </a:lnTo>
                    <a:lnTo>
                      <a:pt x="210" y="118"/>
                    </a:lnTo>
                    <a:lnTo>
                      <a:pt x="202" y="109"/>
                    </a:lnTo>
                    <a:lnTo>
                      <a:pt x="194" y="101"/>
                    </a:lnTo>
                    <a:lnTo>
                      <a:pt x="184" y="92"/>
                    </a:lnTo>
                    <a:lnTo>
                      <a:pt x="175" y="81"/>
                    </a:lnTo>
                    <a:lnTo>
                      <a:pt x="161" y="71"/>
                    </a:lnTo>
                    <a:lnTo>
                      <a:pt x="139" y="50"/>
                    </a:lnTo>
                    <a:lnTo>
                      <a:pt x="130" y="33"/>
                    </a:lnTo>
                    <a:lnTo>
                      <a:pt x="128" y="20"/>
                    </a:lnTo>
                    <a:lnTo>
                      <a:pt x="128" y="15"/>
                    </a:lnTo>
                    <a:lnTo>
                      <a:pt x="32" y="10"/>
                    </a:lnTo>
                    <a:lnTo>
                      <a:pt x="4" y="54"/>
                    </a:lnTo>
                    <a:lnTo>
                      <a:pt x="4" y="69"/>
                    </a:lnTo>
                    <a:lnTo>
                      <a:pt x="2" y="109"/>
                    </a:lnTo>
                    <a:lnTo>
                      <a:pt x="0" y="160"/>
                    </a:lnTo>
                    <a:lnTo>
                      <a:pt x="2" y="203"/>
                    </a:lnTo>
                    <a:lnTo>
                      <a:pt x="14" y="203"/>
                    </a:lnTo>
                    <a:lnTo>
                      <a:pt x="14" y="208"/>
                    </a:lnTo>
                    <a:lnTo>
                      <a:pt x="16" y="221"/>
                    </a:lnTo>
                    <a:lnTo>
                      <a:pt x="24" y="240"/>
                    </a:lnTo>
                    <a:lnTo>
                      <a:pt x="45" y="261"/>
                    </a:lnTo>
                    <a:lnTo>
                      <a:pt x="59" y="271"/>
                    </a:lnTo>
                    <a:lnTo>
                      <a:pt x="69" y="280"/>
                    </a:lnTo>
                    <a:lnTo>
                      <a:pt x="79" y="289"/>
                    </a:lnTo>
                    <a:lnTo>
                      <a:pt x="87" y="297"/>
                    </a:lnTo>
                    <a:lnTo>
                      <a:pt x="94" y="306"/>
                    </a:lnTo>
                    <a:lnTo>
                      <a:pt x="100" y="315"/>
                    </a:lnTo>
                    <a:lnTo>
                      <a:pt x="106" y="323"/>
                    </a:lnTo>
                    <a:lnTo>
                      <a:pt x="110" y="332"/>
                    </a:lnTo>
                    <a:lnTo>
                      <a:pt x="116" y="341"/>
                    </a:lnTo>
                    <a:lnTo>
                      <a:pt x="122" y="348"/>
                    </a:lnTo>
                    <a:lnTo>
                      <a:pt x="132" y="355"/>
                    </a:lnTo>
                    <a:lnTo>
                      <a:pt x="141" y="360"/>
                    </a:lnTo>
                    <a:lnTo>
                      <a:pt x="153" y="363"/>
                    </a:lnTo>
                    <a:lnTo>
                      <a:pt x="167" y="367"/>
                    </a:lnTo>
                    <a:lnTo>
                      <a:pt x="181" y="370"/>
                    </a:lnTo>
                    <a:lnTo>
                      <a:pt x="194" y="370"/>
                    </a:lnTo>
                    <a:lnTo>
                      <a:pt x="208" y="369"/>
                    </a:lnTo>
                    <a:lnTo>
                      <a:pt x="220" y="365"/>
                    </a:lnTo>
                    <a:lnTo>
                      <a:pt x="231" y="360"/>
                    </a:lnTo>
                    <a:lnTo>
                      <a:pt x="241" y="353"/>
                    </a:lnTo>
                    <a:lnTo>
                      <a:pt x="249" y="344"/>
                    </a:lnTo>
                    <a:lnTo>
                      <a:pt x="255" y="336"/>
                    </a:lnTo>
                    <a:lnTo>
                      <a:pt x="259" y="327"/>
                    </a:lnTo>
                    <a:lnTo>
                      <a:pt x="263" y="318"/>
                    </a:lnTo>
                    <a:lnTo>
                      <a:pt x="267" y="308"/>
                    </a:lnTo>
                    <a:lnTo>
                      <a:pt x="272" y="292"/>
                    </a:lnTo>
                    <a:lnTo>
                      <a:pt x="280" y="276"/>
                    </a:lnTo>
                    <a:lnTo>
                      <a:pt x="290" y="259"/>
                    </a:lnTo>
                    <a:lnTo>
                      <a:pt x="300" y="243"/>
                    </a:lnTo>
                    <a:lnTo>
                      <a:pt x="310" y="228"/>
                    </a:lnTo>
                    <a:lnTo>
                      <a:pt x="319" y="215"/>
                    </a:lnTo>
                    <a:lnTo>
                      <a:pt x="327" y="208"/>
                    </a:lnTo>
                    <a:lnTo>
                      <a:pt x="333" y="203"/>
                    </a:lnTo>
                    <a:lnTo>
                      <a:pt x="341" y="200"/>
                    </a:lnTo>
                    <a:lnTo>
                      <a:pt x="349" y="196"/>
                    </a:lnTo>
                    <a:lnTo>
                      <a:pt x="359" y="195"/>
                    </a:lnTo>
                    <a:lnTo>
                      <a:pt x="368" y="195"/>
                    </a:lnTo>
                    <a:lnTo>
                      <a:pt x="378" y="196"/>
                    </a:lnTo>
                    <a:lnTo>
                      <a:pt x="390" y="200"/>
                    </a:lnTo>
                    <a:lnTo>
                      <a:pt x="402" y="203"/>
                    </a:lnTo>
                    <a:lnTo>
                      <a:pt x="415" y="208"/>
                    </a:lnTo>
                    <a:lnTo>
                      <a:pt x="431" y="214"/>
                    </a:lnTo>
                    <a:lnTo>
                      <a:pt x="451" y="217"/>
                    </a:lnTo>
                    <a:lnTo>
                      <a:pt x="470" y="219"/>
                    </a:lnTo>
                    <a:lnTo>
                      <a:pt x="490" y="219"/>
                    </a:lnTo>
                    <a:lnTo>
                      <a:pt x="509" y="215"/>
                    </a:lnTo>
                    <a:lnTo>
                      <a:pt x="527" y="208"/>
                    </a:lnTo>
                    <a:lnTo>
                      <a:pt x="544" y="198"/>
                    </a:lnTo>
                    <a:lnTo>
                      <a:pt x="560" y="189"/>
                    </a:lnTo>
                    <a:lnTo>
                      <a:pt x="578" y="188"/>
                    </a:lnTo>
                    <a:lnTo>
                      <a:pt x="593" y="193"/>
                    </a:lnTo>
                    <a:lnTo>
                      <a:pt x="609" y="200"/>
                    </a:lnTo>
                    <a:lnTo>
                      <a:pt x="623" y="210"/>
                    </a:lnTo>
                    <a:lnTo>
                      <a:pt x="635" y="221"/>
                    </a:lnTo>
                    <a:lnTo>
                      <a:pt x="644" y="229"/>
                    </a:lnTo>
                    <a:lnTo>
                      <a:pt x="652" y="236"/>
                    </a:lnTo>
                    <a:lnTo>
                      <a:pt x="660" y="242"/>
                    </a:lnTo>
                    <a:lnTo>
                      <a:pt x="672" y="247"/>
                    </a:lnTo>
                    <a:lnTo>
                      <a:pt x="687" y="250"/>
                    </a:lnTo>
                    <a:lnTo>
                      <a:pt x="705" y="254"/>
                    </a:lnTo>
                    <a:lnTo>
                      <a:pt x="723" y="254"/>
                    </a:lnTo>
                    <a:lnTo>
                      <a:pt x="742" y="254"/>
                    </a:lnTo>
                    <a:lnTo>
                      <a:pt x="762" y="248"/>
                    </a:lnTo>
                    <a:lnTo>
                      <a:pt x="779" y="242"/>
                    </a:lnTo>
                    <a:lnTo>
                      <a:pt x="781" y="243"/>
                    </a:lnTo>
                    <a:lnTo>
                      <a:pt x="787" y="245"/>
                    </a:lnTo>
                    <a:lnTo>
                      <a:pt x="797" y="248"/>
                    </a:lnTo>
                    <a:lnTo>
                      <a:pt x="809" y="252"/>
                    </a:lnTo>
                    <a:lnTo>
                      <a:pt x="820" y="254"/>
                    </a:lnTo>
                    <a:lnTo>
                      <a:pt x="834" y="255"/>
                    </a:lnTo>
                    <a:lnTo>
                      <a:pt x="848" y="254"/>
                    </a:lnTo>
                    <a:lnTo>
                      <a:pt x="860" y="250"/>
                    </a:lnTo>
                    <a:lnTo>
                      <a:pt x="863" y="252"/>
                    </a:lnTo>
                    <a:lnTo>
                      <a:pt x="871" y="257"/>
                    </a:lnTo>
                    <a:lnTo>
                      <a:pt x="887" y="264"/>
                    </a:lnTo>
                    <a:lnTo>
                      <a:pt x="905" y="273"/>
                    </a:lnTo>
                    <a:lnTo>
                      <a:pt x="924" y="278"/>
                    </a:lnTo>
                    <a:lnTo>
                      <a:pt x="948" y="280"/>
                    </a:lnTo>
                    <a:lnTo>
                      <a:pt x="969" y="278"/>
                    </a:lnTo>
                    <a:lnTo>
                      <a:pt x="993" y="269"/>
                    </a:lnTo>
                    <a:lnTo>
                      <a:pt x="995" y="269"/>
                    </a:lnTo>
                    <a:lnTo>
                      <a:pt x="998" y="268"/>
                    </a:lnTo>
                    <a:lnTo>
                      <a:pt x="1006" y="266"/>
                    </a:lnTo>
                    <a:lnTo>
                      <a:pt x="1014" y="266"/>
                    </a:lnTo>
                    <a:lnTo>
                      <a:pt x="1024" y="268"/>
                    </a:lnTo>
                    <a:lnTo>
                      <a:pt x="1034" y="271"/>
                    </a:lnTo>
                    <a:lnTo>
                      <a:pt x="1043" y="278"/>
                    </a:lnTo>
                    <a:lnTo>
                      <a:pt x="1051" y="289"/>
                    </a:lnTo>
                    <a:lnTo>
                      <a:pt x="1063" y="299"/>
                    </a:lnTo>
                    <a:lnTo>
                      <a:pt x="1081" y="308"/>
                    </a:lnTo>
                    <a:lnTo>
                      <a:pt x="1102" y="313"/>
                    </a:lnTo>
                    <a:lnTo>
                      <a:pt x="1126" y="315"/>
                    </a:lnTo>
                    <a:lnTo>
                      <a:pt x="1149" y="311"/>
                    </a:lnTo>
                    <a:lnTo>
                      <a:pt x="1171" y="304"/>
                    </a:lnTo>
                    <a:lnTo>
                      <a:pt x="1190" y="290"/>
                    </a:lnTo>
                    <a:lnTo>
                      <a:pt x="1206" y="269"/>
                    </a:lnTo>
                    <a:lnTo>
                      <a:pt x="1210" y="264"/>
                    </a:lnTo>
                    <a:lnTo>
                      <a:pt x="1222" y="259"/>
                    </a:lnTo>
                    <a:lnTo>
                      <a:pt x="1235" y="261"/>
                    </a:lnTo>
                    <a:lnTo>
                      <a:pt x="1249" y="280"/>
                    </a:lnTo>
                    <a:lnTo>
                      <a:pt x="1259" y="292"/>
                    </a:lnTo>
                    <a:lnTo>
                      <a:pt x="1272" y="299"/>
                    </a:lnTo>
                    <a:lnTo>
                      <a:pt x="1290" y="302"/>
                    </a:lnTo>
                    <a:lnTo>
                      <a:pt x="1310" y="301"/>
                    </a:lnTo>
                    <a:lnTo>
                      <a:pt x="1327" y="297"/>
                    </a:lnTo>
                    <a:lnTo>
                      <a:pt x="1343" y="292"/>
                    </a:lnTo>
                    <a:lnTo>
                      <a:pt x="1353" y="285"/>
                    </a:lnTo>
                    <a:lnTo>
                      <a:pt x="1357" y="280"/>
                    </a:lnTo>
                    <a:lnTo>
                      <a:pt x="1362" y="273"/>
                    </a:lnTo>
                    <a:lnTo>
                      <a:pt x="1378" y="269"/>
                    </a:lnTo>
                    <a:lnTo>
                      <a:pt x="1392" y="269"/>
                    </a:lnTo>
                    <a:lnTo>
                      <a:pt x="1398" y="269"/>
                    </a:lnTo>
                    <a:lnTo>
                      <a:pt x="1462" y="280"/>
                    </a:lnTo>
                    <a:lnTo>
                      <a:pt x="1464" y="282"/>
                    </a:lnTo>
                    <a:lnTo>
                      <a:pt x="1470" y="287"/>
                    </a:lnTo>
                    <a:lnTo>
                      <a:pt x="1480" y="292"/>
                    </a:lnTo>
                    <a:lnTo>
                      <a:pt x="1492" y="297"/>
                    </a:lnTo>
                    <a:lnTo>
                      <a:pt x="1505" y="302"/>
                    </a:lnTo>
                    <a:lnTo>
                      <a:pt x="1519" y="306"/>
                    </a:lnTo>
                    <a:lnTo>
                      <a:pt x="1531" y="304"/>
                    </a:lnTo>
                    <a:lnTo>
                      <a:pt x="1542" y="299"/>
                    </a:lnTo>
                    <a:lnTo>
                      <a:pt x="1552" y="292"/>
                    </a:lnTo>
                    <a:lnTo>
                      <a:pt x="1562" y="289"/>
                    </a:lnTo>
                    <a:lnTo>
                      <a:pt x="1572" y="289"/>
                    </a:lnTo>
                    <a:lnTo>
                      <a:pt x="1584" y="290"/>
                    </a:lnTo>
                    <a:lnTo>
                      <a:pt x="1593" y="295"/>
                    </a:lnTo>
                    <a:lnTo>
                      <a:pt x="1603" y="302"/>
                    </a:lnTo>
                    <a:lnTo>
                      <a:pt x="1613" y="311"/>
                    </a:lnTo>
                    <a:lnTo>
                      <a:pt x="1623" y="322"/>
                    </a:lnTo>
                    <a:lnTo>
                      <a:pt x="1638" y="341"/>
                    </a:lnTo>
                    <a:lnTo>
                      <a:pt x="1650" y="358"/>
                    </a:lnTo>
                    <a:lnTo>
                      <a:pt x="1658" y="374"/>
                    </a:lnTo>
                    <a:lnTo>
                      <a:pt x="1660" y="393"/>
                    </a:lnTo>
                    <a:lnTo>
                      <a:pt x="1662" y="403"/>
                    </a:lnTo>
                    <a:lnTo>
                      <a:pt x="1668" y="416"/>
                    </a:lnTo>
                    <a:lnTo>
                      <a:pt x="1676" y="426"/>
                    </a:lnTo>
                    <a:lnTo>
                      <a:pt x="1687" y="437"/>
                    </a:lnTo>
                    <a:lnTo>
                      <a:pt x="1699" y="447"/>
                    </a:lnTo>
                    <a:lnTo>
                      <a:pt x="1715" y="454"/>
                    </a:lnTo>
                    <a:lnTo>
                      <a:pt x="1730" y="459"/>
                    </a:lnTo>
                    <a:lnTo>
                      <a:pt x="1746" y="463"/>
                    </a:lnTo>
                    <a:lnTo>
                      <a:pt x="1762" y="464"/>
                    </a:lnTo>
                    <a:lnTo>
                      <a:pt x="1775" y="464"/>
                    </a:lnTo>
                    <a:lnTo>
                      <a:pt x="1789" y="463"/>
                    </a:lnTo>
                    <a:lnTo>
                      <a:pt x="1801" y="459"/>
                    </a:lnTo>
                    <a:lnTo>
                      <a:pt x="1811" y="456"/>
                    </a:lnTo>
                    <a:lnTo>
                      <a:pt x="1820" y="450"/>
                    </a:lnTo>
                    <a:lnTo>
                      <a:pt x="1830" y="443"/>
                    </a:lnTo>
                    <a:lnTo>
                      <a:pt x="1836" y="437"/>
                    </a:lnTo>
                    <a:lnTo>
                      <a:pt x="1846" y="428"/>
                    </a:lnTo>
                    <a:lnTo>
                      <a:pt x="1858" y="423"/>
                    </a:lnTo>
                    <a:lnTo>
                      <a:pt x="1873" y="417"/>
                    </a:lnTo>
                    <a:lnTo>
                      <a:pt x="1891" y="412"/>
                    </a:lnTo>
                    <a:lnTo>
                      <a:pt x="1905" y="405"/>
                    </a:lnTo>
                    <a:lnTo>
                      <a:pt x="1914" y="396"/>
                    </a:lnTo>
                    <a:lnTo>
                      <a:pt x="1920" y="386"/>
                    </a:lnTo>
                    <a:lnTo>
                      <a:pt x="1916" y="370"/>
                    </a:lnTo>
                    <a:lnTo>
                      <a:pt x="1908" y="349"/>
                    </a:lnTo>
                    <a:lnTo>
                      <a:pt x="1901" y="325"/>
                    </a:lnTo>
                    <a:lnTo>
                      <a:pt x="1895" y="301"/>
                    </a:lnTo>
                    <a:lnTo>
                      <a:pt x="1891" y="276"/>
                    </a:lnTo>
                    <a:lnTo>
                      <a:pt x="1883" y="276"/>
                    </a:lnTo>
                    <a:lnTo>
                      <a:pt x="1875" y="276"/>
                    </a:lnTo>
                    <a:lnTo>
                      <a:pt x="1867" y="276"/>
                    </a:lnTo>
                    <a:lnTo>
                      <a:pt x="1859" y="276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CC9900"/>
                  </a:gs>
                  <a:gs pos="100000">
                    <a:srgbClr val="5E4700"/>
                  </a:gs>
                </a:gsLst>
                <a:lin ang="5400000" scaled="1"/>
              </a:gra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grpSp>
            <p:nvGrpSpPr>
              <p:cNvPr id="189" name="Group 50"/>
              <p:cNvGrpSpPr>
                <a:grpSpLocks/>
              </p:cNvGrpSpPr>
              <p:nvPr/>
            </p:nvGrpSpPr>
            <p:grpSpPr bwMode="auto">
              <a:xfrm>
                <a:off x="4830" y="2666"/>
                <a:ext cx="817" cy="295"/>
                <a:chOff x="4830" y="2671"/>
                <a:chExt cx="817" cy="295"/>
              </a:xfrm>
            </p:grpSpPr>
            <p:sp>
              <p:nvSpPr>
                <p:cNvPr id="202" name="Text Box 51"/>
                <p:cNvSpPr txBox="1">
                  <a:spLocks noChangeArrowheads="1"/>
                </p:cNvSpPr>
                <p:nvPr/>
              </p:nvSpPr>
              <p:spPr bwMode="auto">
                <a:xfrm>
                  <a:off x="4910" y="2781"/>
                  <a:ext cx="692" cy="73"/>
                </a:xfrm>
                <a:prstGeom prst="rect">
                  <a:avLst/>
                </a:prstGeom>
                <a:noFill/>
                <a:ln>
                  <a:noFill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p3d prstMaterial="metal">
                  <a:bevelT w="88900" h="889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9pPr>
                </a:lstStyle>
                <a:p>
                  <a:pPr algn="ctr" eaLnBrk="1" hangingPunct="1">
                    <a:lnSpc>
                      <a:spcPct val="70000"/>
                    </a:lnSpc>
                    <a:spcBef>
                      <a:spcPct val="50000"/>
                    </a:spcBef>
                    <a:buFont typeface="Wingdings" pitchFamily="2" charset="2"/>
                    <a:buNone/>
                  </a:pPr>
                  <a:r>
                    <a:rPr lang="hr-HR" altLang="sr-Latn-RS" sz="900" b="1">
                      <a:latin typeface="Frutiger 55 Roman"/>
                    </a:rPr>
                    <a:t>OSIJEK</a:t>
                  </a:r>
                  <a:endParaRPr lang="hr-HR" altLang="sr-Latn-RS" sz="750">
                    <a:latin typeface="Frutiger 55 Roman"/>
                  </a:endParaRPr>
                </a:p>
              </p:txBody>
            </p:sp>
            <p:sp>
              <p:nvSpPr>
                <p:cNvPr id="203" name="Oval 52"/>
                <p:cNvSpPr>
                  <a:spLocks noChangeArrowheads="1"/>
                </p:cNvSpPr>
                <p:nvPr/>
              </p:nvSpPr>
              <p:spPr bwMode="auto">
                <a:xfrm>
                  <a:off x="4830" y="2671"/>
                  <a:ext cx="817" cy="295"/>
                </a:xfrm>
                <a:prstGeom prst="ellips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p3d prstMaterial="metal">
                  <a:bevelT w="88900" h="889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9pPr>
                </a:lstStyle>
                <a:p>
                  <a:pPr eaLnBrk="1" hangingPunct="1"/>
                  <a:endParaRPr lang="sr-Latn-RS" altLang="sr-Latn-RS"/>
                </a:p>
              </p:txBody>
            </p:sp>
          </p:grpSp>
          <p:grpSp>
            <p:nvGrpSpPr>
              <p:cNvPr id="190" name="Group 53"/>
              <p:cNvGrpSpPr>
                <a:grpSpLocks/>
              </p:cNvGrpSpPr>
              <p:nvPr/>
            </p:nvGrpSpPr>
            <p:grpSpPr bwMode="auto">
              <a:xfrm>
                <a:off x="3560" y="2938"/>
                <a:ext cx="817" cy="295"/>
                <a:chOff x="4830" y="2671"/>
                <a:chExt cx="817" cy="295"/>
              </a:xfrm>
            </p:grpSpPr>
            <p:sp>
              <p:nvSpPr>
                <p:cNvPr id="200" name="Text Box 54"/>
                <p:cNvSpPr txBox="1">
                  <a:spLocks noChangeArrowheads="1"/>
                </p:cNvSpPr>
                <p:nvPr/>
              </p:nvSpPr>
              <p:spPr bwMode="auto">
                <a:xfrm>
                  <a:off x="4910" y="2781"/>
                  <a:ext cx="692" cy="73"/>
                </a:xfrm>
                <a:prstGeom prst="rect">
                  <a:avLst/>
                </a:prstGeom>
                <a:noFill/>
                <a:ln>
                  <a:noFill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p3d prstMaterial="metal">
                  <a:bevelT w="88900" h="889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9pPr>
                </a:lstStyle>
                <a:p>
                  <a:pPr algn="ctr" eaLnBrk="1" hangingPunct="1">
                    <a:lnSpc>
                      <a:spcPct val="70000"/>
                    </a:lnSpc>
                    <a:spcBef>
                      <a:spcPct val="50000"/>
                    </a:spcBef>
                    <a:buFont typeface="Wingdings" pitchFamily="2" charset="2"/>
                    <a:buNone/>
                  </a:pPr>
                  <a:r>
                    <a:rPr lang="hr-HR" altLang="sr-Latn-RS" sz="900" b="1" dirty="0">
                      <a:latin typeface="Frutiger 55 Roman"/>
                    </a:rPr>
                    <a:t>GOSPIĆ</a:t>
                  </a:r>
                </a:p>
              </p:txBody>
            </p:sp>
            <p:sp>
              <p:nvSpPr>
                <p:cNvPr id="201" name="Oval 55"/>
                <p:cNvSpPr>
                  <a:spLocks noChangeArrowheads="1"/>
                </p:cNvSpPr>
                <p:nvPr/>
              </p:nvSpPr>
              <p:spPr bwMode="auto">
                <a:xfrm>
                  <a:off x="4830" y="2671"/>
                  <a:ext cx="817" cy="295"/>
                </a:xfrm>
                <a:prstGeom prst="ellips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p3d prstMaterial="metal">
                  <a:bevelT w="88900" h="889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9pPr>
                </a:lstStyle>
                <a:p>
                  <a:pPr eaLnBrk="1" hangingPunct="1"/>
                  <a:endParaRPr lang="sr-Latn-RS" altLang="sr-Latn-RS"/>
                </a:p>
              </p:txBody>
            </p:sp>
          </p:grpSp>
          <p:grpSp>
            <p:nvGrpSpPr>
              <p:cNvPr id="191" name="Group 56"/>
              <p:cNvGrpSpPr>
                <a:grpSpLocks/>
              </p:cNvGrpSpPr>
              <p:nvPr/>
            </p:nvGrpSpPr>
            <p:grpSpPr bwMode="auto">
              <a:xfrm>
                <a:off x="3061" y="2666"/>
                <a:ext cx="817" cy="295"/>
                <a:chOff x="4830" y="2671"/>
                <a:chExt cx="817" cy="295"/>
              </a:xfrm>
            </p:grpSpPr>
            <p:sp>
              <p:nvSpPr>
                <p:cNvPr id="198" name="Text Box 57"/>
                <p:cNvSpPr txBox="1">
                  <a:spLocks noChangeArrowheads="1"/>
                </p:cNvSpPr>
                <p:nvPr/>
              </p:nvSpPr>
              <p:spPr bwMode="auto">
                <a:xfrm>
                  <a:off x="4910" y="2781"/>
                  <a:ext cx="692" cy="73"/>
                </a:xfrm>
                <a:prstGeom prst="rect">
                  <a:avLst/>
                </a:prstGeom>
                <a:noFill/>
                <a:ln>
                  <a:noFill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p3d prstMaterial="metal">
                  <a:bevelT w="88900" h="889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9pPr>
                </a:lstStyle>
                <a:p>
                  <a:pPr algn="ctr" eaLnBrk="1" hangingPunct="1">
                    <a:lnSpc>
                      <a:spcPct val="70000"/>
                    </a:lnSpc>
                    <a:spcBef>
                      <a:spcPct val="50000"/>
                    </a:spcBef>
                    <a:buFont typeface="Wingdings" pitchFamily="2" charset="2"/>
                    <a:buNone/>
                  </a:pPr>
                  <a:r>
                    <a:rPr lang="hr-HR" altLang="sr-Latn-RS" sz="900" b="1">
                      <a:latin typeface="Frutiger 55 Roman"/>
                    </a:rPr>
                    <a:t>RIJEKA</a:t>
                  </a:r>
                </a:p>
              </p:txBody>
            </p:sp>
            <p:sp>
              <p:nvSpPr>
                <p:cNvPr id="199" name="Oval 58"/>
                <p:cNvSpPr>
                  <a:spLocks noChangeArrowheads="1"/>
                </p:cNvSpPr>
                <p:nvPr/>
              </p:nvSpPr>
              <p:spPr bwMode="auto">
                <a:xfrm>
                  <a:off x="4830" y="2671"/>
                  <a:ext cx="817" cy="295"/>
                </a:xfrm>
                <a:prstGeom prst="ellips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p3d prstMaterial="metal">
                  <a:bevelT w="88900" h="889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9pPr>
                </a:lstStyle>
                <a:p>
                  <a:pPr eaLnBrk="1" hangingPunct="1"/>
                  <a:endParaRPr lang="sr-Latn-RS" altLang="sr-Latn-RS"/>
                </a:p>
              </p:txBody>
            </p:sp>
          </p:grpSp>
          <p:grpSp>
            <p:nvGrpSpPr>
              <p:cNvPr id="192" name="Group 59"/>
              <p:cNvGrpSpPr>
                <a:grpSpLocks/>
              </p:cNvGrpSpPr>
              <p:nvPr/>
            </p:nvGrpSpPr>
            <p:grpSpPr bwMode="auto">
              <a:xfrm>
                <a:off x="3923" y="3527"/>
                <a:ext cx="817" cy="295"/>
                <a:chOff x="4830" y="2671"/>
                <a:chExt cx="817" cy="295"/>
              </a:xfrm>
            </p:grpSpPr>
            <p:sp>
              <p:nvSpPr>
                <p:cNvPr id="196" name="Text Box 60"/>
                <p:cNvSpPr txBox="1">
                  <a:spLocks noChangeArrowheads="1"/>
                </p:cNvSpPr>
                <p:nvPr/>
              </p:nvSpPr>
              <p:spPr bwMode="auto">
                <a:xfrm>
                  <a:off x="4910" y="2781"/>
                  <a:ext cx="692" cy="73"/>
                </a:xfrm>
                <a:prstGeom prst="rect">
                  <a:avLst/>
                </a:prstGeom>
                <a:noFill/>
                <a:ln>
                  <a:noFill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p3d prstMaterial="metal">
                  <a:bevelT w="88900" h="889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9pPr>
                </a:lstStyle>
                <a:p>
                  <a:pPr algn="ctr" eaLnBrk="1" hangingPunct="1">
                    <a:lnSpc>
                      <a:spcPct val="70000"/>
                    </a:lnSpc>
                    <a:spcBef>
                      <a:spcPct val="50000"/>
                    </a:spcBef>
                    <a:buFont typeface="Wingdings" pitchFamily="2" charset="2"/>
                    <a:buNone/>
                  </a:pPr>
                  <a:r>
                    <a:rPr lang="hr-HR" altLang="sr-Latn-RS" sz="900" b="1">
                      <a:latin typeface="Frutiger 55 Roman"/>
                    </a:rPr>
                    <a:t>SPLIT </a:t>
                  </a:r>
                </a:p>
              </p:txBody>
            </p:sp>
            <p:sp>
              <p:nvSpPr>
                <p:cNvPr id="197" name="Oval 60"/>
                <p:cNvSpPr>
                  <a:spLocks noChangeArrowheads="1"/>
                </p:cNvSpPr>
                <p:nvPr/>
              </p:nvSpPr>
              <p:spPr bwMode="auto">
                <a:xfrm>
                  <a:off x="4830" y="2671"/>
                  <a:ext cx="817" cy="295"/>
                </a:xfrm>
                <a:prstGeom prst="ellips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p3d prstMaterial="metal">
                  <a:bevelT w="88900" h="889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9pPr>
                </a:lstStyle>
                <a:p>
                  <a:pPr eaLnBrk="1" hangingPunct="1"/>
                  <a:endParaRPr lang="sr-Latn-RS" altLang="sr-Latn-RS"/>
                </a:p>
              </p:txBody>
            </p:sp>
          </p:grpSp>
          <p:grpSp>
            <p:nvGrpSpPr>
              <p:cNvPr id="193" name="Group 62"/>
              <p:cNvGrpSpPr>
                <a:grpSpLocks/>
              </p:cNvGrpSpPr>
              <p:nvPr/>
            </p:nvGrpSpPr>
            <p:grpSpPr bwMode="auto">
              <a:xfrm>
                <a:off x="4678" y="3804"/>
                <a:ext cx="725" cy="431"/>
                <a:chOff x="4933" y="3889"/>
                <a:chExt cx="725" cy="431"/>
              </a:xfrm>
            </p:grpSpPr>
            <p:sp>
              <p:nvSpPr>
                <p:cNvPr id="194" name="Oval 63"/>
                <p:cNvSpPr>
                  <a:spLocks noChangeArrowheads="1"/>
                </p:cNvSpPr>
                <p:nvPr/>
              </p:nvSpPr>
              <p:spPr bwMode="auto">
                <a:xfrm>
                  <a:off x="4942" y="3889"/>
                  <a:ext cx="708" cy="431"/>
                </a:xfrm>
                <a:prstGeom prst="ellipse">
                  <a:avLst/>
                </a:prstGeom>
                <a:noFill/>
                <a:ln>
                  <a:noFill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p3d prstMaterial="metal">
                  <a:bevelT w="88900" h="889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9pPr>
                </a:lstStyle>
                <a:p>
                  <a:pPr eaLnBrk="1" hangingPunct="1"/>
                  <a:endParaRPr lang="sr-Latn-RS" altLang="sr-Latn-RS"/>
                </a:p>
              </p:txBody>
            </p:sp>
            <p:sp>
              <p:nvSpPr>
                <p:cNvPr id="195" name="Text Box 64"/>
                <p:cNvSpPr txBox="1">
                  <a:spLocks noChangeArrowheads="1"/>
                </p:cNvSpPr>
                <p:nvPr/>
              </p:nvSpPr>
              <p:spPr bwMode="auto">
                <a:xfrm>
                  <a:off x="4933" y="4031"/>
                  <a:ext cx="725" cy="143"/>
                </a:xfrm>
                <a:prstGeom prst="rect">
                  <a:avLst/>
                </a:prstGeom>
                <a:noFill/>
                <a:ln>
                  <a:noFill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p3d prstMaterial="metal">
                  <a:bevelT w="88900" h="889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9pPr>
                </a:lstStyle>
                <a:p>
                  <a:pPr algn="ctr" eaLnBrk="1" hangingPunct="1">
                    <a:lnSpc>
                      <a:spcPct val="70000"/>
                    </a:lnSpc>
                    <a:spcBef>
                      <a:spcPct val="50000"/>
                    </a:spcBef>
                  </a:pPr>
                  <a:endParaRPr lang="sr-Latn-CS" altLang="sr-Latn-RS" sz="900" b="1">
                    <a:latin typeface="Frutiger 55 Roman"/>
                  </a:endParaRPr>
                </a:p>
              </p:txBody>
            </p:sp>
          </p:grpSp>
        </p:grpSp>
        <p:grpSp>
          <p:nvGrpSpPr>
            <p:cNvPr id="144" name="Group 65"/>
            <p:cNvGrpSpPr>
              <a:grpSpLocks/>
            </p:cNvGrpSpPr>
            <p:nvPr/>
          </p:nvGrpSpPr>
          <p:grpSpPr bwMode="auto">
            <a:xfrm>
              <a:off x="2880" y="3074"/>
              <a:ext cx="817" cy="295"/>
              <a:chOff x="2880" y="3074"/>
              <a:chExt cx="817" cy="295"/>
            </a:xfrm>
          </p:grpSpPr>
          <p:sp>
            <p:nvSpPr>
              <p:cNvPr id="145" name="Text Box 66"/>
              <p:cNvSpPr txBox="1">
                <a:spLocks noChangeArrowheads="1"/>
              </p:cNvSpPr>
              <p:nvPr/>
            </p:nvSpPr>
            <p:spPr bwMode="auto">
              <a:xfrm>
                <a:off x="2960" y="3184"/>
                <a:ext cx="692" cy="73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9pPr>
              </a:lstStyle>
              <a:p>
                <a:pPr algn="ctr" eaLnBrk="1" hangingPunct="1">
                  <a:lnSpc>
                    <a:spcPct val="70000"/>
                  </a:lnSpc>
                  <a:spcBef>
                    <a:spcPct val="50000"/>
                  </a:spcBef>
                  <a:buFont typeface="Wingdings" pitchFamily="2" charset="2"/>
                  <a:buNone/>
                </a:pPr>
                <a:r>
                  <a:rPr lang="hr-HR" altLang="sr-Latn-RS" sz="900" b="1">
                    <a:latin typeface="Frutiger 55 Roman"/>
                  </a:rPr>
                  <a:t>PULA</a:t>
                </a:r>
              </a:p>
            </p:txBody>
          </p:sp>
          <p:sp>
            <p:nvSpPr>
              <p:cNvPr id="146" name="Oval 67"/>
              <p:cNvSpPr>
                <a:spLocks noChangeArrowheads="1"/>
              </p:cNvSpPr>
              <p:nvPr/>
            </p:nvSpPr>
            <p:spPr bwMode="auto">
              <a:xfrm>
                <a:off x="2880" y="3074"/>
                <a:ext cx="817" cy="295"/>
              </a:xfrm>
              <a:prstGeom prst="ellipse">
                <a:avLst/>
              </a:prstGeom>
              <a:noFill/>
              <a:ln w="9525">
                <a:noFill/>
                <a:round/>
                <a:headEnd/>
                <a:tailEnd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endParaRPr lang="sr-Latn-RS" altLang="sr-Latn-RS"/>
              </a:p>
            </p:txBody>
          </p:sp>
        </p:grpSp>
      </p:grp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hr-H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7735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532440" y="6381750"/>
            <a:ext cx="2133600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6F6E0C7-1936-4369-AC41-AA256DB5FC71}" type="slidenum">
              <a:rPr lang="hr-HR" altLang="sr-Latn-RS" sz="1100" smtClean="0">
                <a:solidFill>
                  <a:schemeClr val="bg1"/>
                </a:solidFill>
              </a:rPr>
              <a:t>3</a:t>
            </a:fld>
            <a:endParaRPr lang="hr-HR" altLang="sr-Latn-RS" sz="1100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36510397"/>
              </p:ext>
            </p:extLst>
          </p:nvPr>
        </p:nvGraphicFramePr>
        <p:xfrm>
          <a:off x="827584" y="1340768"/>
          <a:ext cx="7632848" cy="4267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ext Placeholder 2"/>
          <p:cNvSpPr txBox="1">
            <a:spLocks/>
          </p:cNvSpPr>
          <p:nvPr/>
        </p:nvSpPr>
        <p:spPr>
          <a:xfrm>
            <a:off x="2138299" y="156112"/>
            <a:ext cx="6840091" cy="4318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hr-HR" sz="2400" b="1" smtClean="0">
                <a:solidFill>
                  <a:schemeClr val="bg1"/>
                </a:solidFill>
              </a:rPr>
              <a:t>25 godina podrške razvoju domaćeg gospodarstva</a:t>
            </a:r>
            <a:endParaRPr lang="hr-HR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3125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/>
        </p:nvSpPr>
        <p:spPr bwMode="auto">
          <a:xfrm>
            <a:off x="6732588" y="6381750"/>
            <a:ext cx="2060575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sr-Latn-R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r"/>
            <a:endParaRPr lang="hr-HR" sz="1050" dirty="0">
              <a:solidFill>
                <a:schemeClr val="bg1"/>
              </a:solidFill>
            </a:endParaRPr>
          </a:p>
        </p:txBody>
      </p:sp>
      <p:sp>
        <p:nvSpPr>
          <p:cNvPr id="8" name="Text Placeholder 2"/>
          <p:cNvSpPr txBox="1">
            <a:spLocks/>
          </p:cNvSpPr>
          <p:nvPr/>
        </p:nvSpPr>
        <p:spPr bwMode="auto">
          <a:xfrm>
            <a:off x="1620000" y="180000"/>
            <a:ext cx="7219200" cy="432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ts val="0"/>
              </a:spcBef>
            </a:pPr>
            <a:r>
              <a:rPr lang="hr-HR" b="1" dirty="0" smtClean="0"/>
              <a:t>Programi kreditiranja</a:t>
            </a:r>
            <a:endParaRPr lang="hr-HR" b="1" dirty="0"/>
          </a:p>
          <a:p>
            <a:pPr eaLnBrk="1" hangingPunct="1">
              <a:spcBef>
                <a:spcPts val="0"/>
              </a:spcBef>
            </a:pPr>
            <a:endParaRPr lang="en-US" b="1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557676418"/>
              </p:ext>
            </p:extLst>
          </p:nvPr>
        </p:nvGraphicFramePr>
        <p:xfrm>
          <a:off x="3830657" y="1556792"/>
          <a:ext cx="5023792" cy="40324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17191841"/>
              </p:ext>
            </p:extLst>
          </p:nvPr>
        </p:nvGraphicFramePr>
        <p:xfrm>
          <a:off x="-828600" y="772645"/>
          <a:ext cx="5760640" cy="56166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1659227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5" imgW="362" imgH="362" progId="TCLayout.ActiveDocument.1">
                  <p:embed/>
                </p:oleObj>
              </mc:Choice>
              <mc:Fallback>
                <p:oleObj name="think-cell Slide" r:id="rId5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hr-HR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06113" y="1337316"/>
            <a:ext cx="3763144" cy="482453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r-HR" sz="1900" dirty="0"/>
          </a:p>
        </p:txBody>
      </p:sp>
      <p:sp>
        <p:nvSpPr>
          <p:cNvPr id="5" name="Rectangle 4"/>
          <p:cNvSpPr/>
          <p:nvPr/>
        </p:nvSpPr>
        <p:spPr>
          <a:xfrm>
            <a:off x="4788024" y="1337316"/>
            <a:ext cx="3763144" cy="482453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lnSpc>
                <a:spcPct val="90000"/>
              </a:lnSpc>
            </a:pPr>
            <a:endParaRPr lang="hr-HR" b="1" dirty="0"/>
          </a:p>
        </p:txBody>
      </p:sp>
      <p:sp>
        <p:nvSpPr>
          <p:cNvPr id="6" name="Slide Number Placeholder 2"/>
          <p:cNvSpPr txBox="1">
            <a:spLocks/>
          </p:cNvSpPr>
          <p:nvPr/>
        </p:nvSpPr>
        <p:spPr>
          <a:xfrm>
            <a:off x="6732591" y="6381751"/>
            <a:ext cx="2060575" cy="365125"/>
          </a:xfrm>
          <a:prstGeom prst="rect">
            <a:avLst/>
          </a:prstGeom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>
            <a:defPPr>
              <a:defRPr lang="sr-Latn-R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r-HR" dirty="0">
              <a:solidFill>
                <a:prstClr val="white"/>
              </a:solidFill>
            </a:endParaRPr>
          </a:p>
        </p:txBody>
      </p:sp>
      <p:sp>
        <p:nvSpPr>
          <p:cNvPr id="7" name="Text Placeholder 2"/>
          <p:cNvSpPr txBox="1">
            <a:spLocks/>
          </p:cNvSpPr>
          <p:nvPr/>
        </p:nvSpPr>
        <p:spPr bwMode="auto">
          <a:xfrm>
            <a:off x="1620000" y="180000"/>
            <a:ext cx="7219200" cy="432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ts val="0"/>
              </a:spcBef>
            </a:pPr>
            <a:r>
              <a:rPr lang="hr-HR" b="1" dirty="0"/>
              <a:t>Osnovni uvjeti kreditiranja </a:t>
            </a:r>
          </a:p>
          <a:p>
            <a:pPr eaLnBrk="1" hangingPunct="1">
              <a:spcBef>
                <a:spcPts val="0"/>
              </a:spcBef>
            </a:pPr>
            <a:endParaRPr lang="en-US" b="1" dirty="0"/>
          </a:p>
        </p:txBody>
      </p:sp>
      <p:sp>
        <p:nvSpPr>
          <p:cNvPr id="8" name="TextBox 7"/>
          <p:cNvSpPr txBox="1"/>
          <p:nvPr/>
        </p:nvSpPr>
        <p:spPr>
          <a:xfrm>
            <a:off x="795497" y="1478727"/>
            <a:ext cx="3384376" cy="36933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hr-HR" dirty="0"/>
              <a:t>INVESTICIJ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981522" y="1505755"/>
            <a:ext cx="3334894" cy="36933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hr-HR" dirty="0"/>
              <a:t>OBRTNA SREDSTVA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95497" y="2678470"/>
            <a:ext cx="338437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hr-HR" sz="1400" b="1" dirty="0"/>
          </a:p>
          <a:p>
            <a:pPr lvl="0" algn="ctr"/>
            <a:r>
              <a:rPr lang="en-GB" sz="1400" b="1" dirty="0"/>
              <a:t>2%</a:t>
            </a:r>
            <a:r>
              <a:rPr lang="hr-HR" sz="1400" b="1" dirty="0"/>
              <a:t> i</a:t>
            </a:r>
            <a:r>
              <a:rPr lang="en-GB" sz="1400" b="1" dirty="0"/>
              <a:t> 4%</a:t>
            </a:r>
            <a:r>
              <a:rPr lang="hr-HR" sz="1400" b="1" dirty="0"/>
              <a:t> godišnje ovisno o djelatnosti investicije i veličini investitora</a:t>
            </a:r>
          </a:p>
          <a:p>
            <a:pPr lvl="0" algn="ctr"/>
            <a:endParaRPr lang="en-GB" sz="1400" dirty="0"/>
          </a:p>
          <a:p>
            <a:pPr lvl="0" algn="ctr"/>
            <a:r>
              <a:rPr lang="en-GB" sz="1400" dirty="0"/>
              <a:t> </a:t>
            </a:r>
            <a:r>
              <a:rPr lang="hr-HR" sz="1400" dirty="0"/>
              <a:t>Za investicije u poljoprivredi, turizmu, industriji i energetskoj učinkovitosti do 30.6.2017. godine kamatna stopa</a:t>
            </a:r>
            <a:endParaRPr lang="hr-HR" sz="1400" b="1" dirty="0"/>
          </a:p>
          <a:p>
            <a:pPr lvl="0" algn="ctr"/>
            <a:r>
              <a:rPr lang="hr-HR" sz="1400" b="1" dirty="0"/>
              <a:t>2% i </a:t>
            </a:r>
            <a:r>
              <a:rPr lang="en-GB" sz="1400" b="1" dirty="0"/>
              <a:t>3%</a:t>
            </a:r>
          </a:p>
          <a:p>
            <a:pPr algn="ctr"/>
            <a:endParaRPr lang="hr-HR" sz="1400" dirty="0"/>
          </a:p>
          <a:p>
            <a:pPr algn="ctr"/>
            <a:endParaRPr lang="hr-HR" sz="1400" dirty="0"/>
          </a:p>
        </p:txBody>
      </p:sp>
      <p:sp>
        <p:nvSpPr>
          <p:cNvPr id="11" name="Rectangle 10"/>
          <p:cNvSpPr/>
          <p:nvPr/>
        </p:nvSpPr>
        <p:spPr>
          <a:xfrm>
            <a:off x="831501" y="4354906"/>
            <a:ext cx="331236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endParaRPr lang="hr-HR" sz="1400" b="1" dirty="0"/>
          </a:p>
          <a:p>
            <a:pPr lvl="0" algn="ctr"/>
            <a:r>
              <a:rPr lang="hr-HR" sz="1400" b="1" dirty="0"/>
              <a:t>Rokovi otplate i poček</a:t>
            </a:r>
            <a:endParaRPr lang="en-GB" sz="1400" b="1" dirty="0"/>
          </a:p>
          <a:p>
            <a:pPr lvl="0" algn="ctr"/>
            <a:endParaRPr lang="en-GB" sz="1400" dirty="0"/>
          </a:p>
          <a:p>
            <a:pPr algn="ctr"/>
            <a:r>
              <a:rPr lang="hr-HR" sz="1400" dirty="0"/>
              <a:t>Rokovi otplate</a:t>
            </a:r>
            <a:r>
              <a:rPr lang="en-GB" sz="1400" dirty="0"/>
              <a:t>: </a:t>
            </a:r>
            <a:r>
              <a:rPr lang="hr-HR" sz="1400" b="1" dirty="0"/>
              <a:t>od</a:t>
            </a:r>
            <a:r>
              <a:rPr lang="en-GB" sz="1400" b="1" dirty="0"/>
              <a:t> 12 </a:t>
            </a:r>
            <a:r>
              <a:rPr lang="hr-HR" sz="1400" b="1" dirty="0"/>
              <a:t>do</a:t>
            </a:r>
            <a:r>
              <a:rPr lang="en-GB" sz="1400" b="1" dirty="0"/>
              <a:t> 17 </a:t>
            </a:r>
            <a:r>
              <a:rPr lang="hr-HR" sz="1400" b="1" dirty="0"/>
              <a:t>godina</a:t>
            </a:r>
            <a:endParaRPr lang="hr-HR" sz="1400" dirty="0"/>
          </a:p>
          <a:p>
            <a:pPr lvl="0" algn="ctr"/>
            <a:r>
              <a:rPr lang="hr-HR" sz="1400" dirty="0"/>
              <a:t>Poček</a:t>
            </a:r>
            <a:r>
              <a:rPr lang="en-GB" sz="1400" dirty="0"/>
              <a:t>: </a:t>
            </a:r>
            <a:r>
              <a:rPr lang="hr-HR" sz="1400" b="1" dirty="0"/>
              <a:t>do 5 godina</a:t>
            </a:r>
            <a:endParaRPr lang="en-GB" sz="1400" b="1" dirty="0"/>
          </a:p>
        </p:txBody>
      </p:sp>
      <p:sp>
        <p:nvSpPr>
          <p:cNvPr id="12" name="Rectangle 11"/>
          <p:cNvSpPr/>
          <p:nvPr/>
        </p:nvSpPr>
        <p:spPr>
          <a:xfrm>
            <a:off x="5064793" y="2781226"/>
            <a:ext cx="3168352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90000"/>
              </a:lnSpc>
            </a:pPr>
            <a:endParaRPr lang="hr-HR" sz="1400" b="1" dirty="0"/>
          </a:p>
          <a:p>
            <a:pPr lvl="0" algn="ctr">
              <a:lnSpc>
                <a:spcPct val="90000"/>
              </a:lnSpc>
            </a:pPr>
            <a:endParaRPr lang="hr-HR" sz="1400" dirty="0"/>
          </a:p>
          <a:p>
            <a:pPr lvl="0" algn="ctr">
              <a:lnSpc>
                <a:spcPct val="90000"/>
              </a:lnSpc>
            </a:pPr>
            <a:endParaRPr lang="hr-HR" sz="1400" dirty="0"/>
          </a:p>
          <a:p>
            <a:pPr lvl="0" algn="ctr">
              <a:lnSpc>
                <a:spcPct val="90000"/>
              </a:lnSpc>
            </a:pPr>
            <a:endParaRPr lang="hr-HR" sz="1400" dirty="0"/>
          </a:p>
          <a:p>
            <a:pPr lvl="0" algn="ctr">
              <a:lnSpc>
                <a:spcPct val="90000"/>
              </a:lnSpc>
            </a:pPr>
            <a:r>
              <a:rPr lang="hr-HR" sz="1400" dirty="0"/>
              <a:t>Od </a:t>
            </a:r>
            <a:r>
              <a:rPr lang="hr-HR" sz="1400" b="1" dirty="0"/>
              <a:t>2</a:t>
            </a:r>
            <a:r>
              <a:rPr lang="en-GB" sz="1400" b="1" dirty="0"/>
              <a:t>% </a:t>
            </a:r>
            <a:r>
              <a:rPr lang="hr-HR" sz="1400" dirty="0"/>
              <a:t>do</a:t>
            </a:r>
            <a:r>
              <a:rPr lang="en-GB" sz="1400" b="1" dirty="0"/>
              <a:t> </a:t>
            </a:r>
            <a:r>
              <a:rPr lang="hr-HR" sz="1400" b="1" dirty="0"/>
              <a:t>4</a:t>
            </a:r>
            <a:r>
              <a:rPr lang="en-GB" sz="1400" b="1" dirty="0"/>
              <a:t>%</a:t>
            </a:r>
          </a:p>
        </p:txBody>
      </p:sp>
      <p:sp>
        <p:nvSpPr>
          <p:cNvPr id="13" name="Rectangle 12"/>
          <p:cNvSpPr/>
          <p:nvPr/>
        </p:nvSpPr>
        <p:spPr>
          <a:xfrm rot="10800000" flipV="1">
            <a:off x="5105460" y="4561414"/>
            <a:ext cx="3334894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hr-HR" sz="1400" b="1" dirty="0"/>
              <a:t>Rokovi otplate i poček</a:t>
            </a:r>
          </a:p>
          <a:p>
            <a:pPr lvl="0" algn="ctr"/>
            <a:endParaRPr lang="hr-HR" sz="1400" b="1" dirty="0"/>
          </a:p>
          <a:p>
            <a:pPr lvl="0" algn="ctr"/>
            <a:r>
              <a:rPr lang="hr-HR" sz="1400" dirty="0"/>
              <a:t>Rokovi otplate</a:t>
            </a:r>
            <a:r>
              <a:rPr lang="en-GB" sz="1400" dirty="0"/>
              <a:t>: </a:t>
            </a:r>
            <a:r>
              <a:rPr lang="hr-HR" sz="1400" b="1" dirty="0"/>
              <a:t>od</a:t>
            </a:r>
            <a:r>
              <a:rPr lang="en-GB" sz="1400" b="1" dirty="0"/>
              <a:t> 3 </a:t>
            </a:r>
            <a:r>
              <a:rPr lang="hr-HR" sz="1400" b="1" dirty="0"/>
              <a:t>mjeseca do </a:t>
            </a:r>
            <a:r>
              <a:rPr lang="en-GB" sz="1400" b="1" dirty="0"/>
              <a:t>6</a:t>
            </a:r>
            <a:r>
              <a:rPr lang="hr-HR" sz="1400" b="1" dirty="0"/>
              <a:t> godina</a:t>
            </a:r>
          </a:p>
          <a:p>
            <a:pPr lvl="0" algn="ctr"/>
            <a:r>
              <a:rPr lang="hr-HR" sz="1400" b="1" dirty="0"/>
              <a:t>Poček: do 2 godine</a:t>
            </a:r>
          </a:p>
          <a:p>
            <a:pPr algn="ctr"/>
            <a:r>
              <a:rPr lang="hr-HR" sz="1400" dirty="0"/>
              <a:t>Program Restrukturiranje do 10 godina otplate i poček do 2 godine</a:t>
            </a:r>
            <a:endParaRPr lang="en-GB" sz="1400" dirty="0"/>
          </a:p>
          <a:p>
            <a:pPr lvl="0" algn="ctr"/>
            <a:endParaRPr lang="hr-HR" sz="1400" dirty="0"/>
          </a:p>
        </p:txBody>
      </p:sp>
      <p:cxnSp>
        <p:nvCxnSpPr>
          <p:cNvPr id="25" name="Straight Connector 24"/>
          <p:cNvCxnSpPr/>
          <p:nvPr/>
        </p:nvCxnSpPr>
        <p:spPr>
          <a:xfrm flipV="1">
            <a:off x="762433" y="4925239"/>
            <a:ext cx="3528392" cy="25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6012554" y="2336024"/>
            <a:ext cx="1302280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90000"/>
              </a:lnSpc>
            </a:pPr>
            <a:r>
              <a:rPr lang="hr-HR" sz="1400" b="1" dirty="0"/>
              <a:t>Kamatne stop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836545" y="2313663"/>
            <a:ext cx="1302280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90000"/>
              </a:lnSpc>
            </a:pPr>
            <a:r>
              <a:rPr lang="hr-HR" sz="1400" b="1" dirty="0"/>
              <a:t>Kamatne stope</a:t>
            </a:r>
          </a:p>
        </p:txBody>
      </p:sp>
      <p:cxnSp>
        <p:nvCxnSpPr>
          <p:cNvPr id="21" name="Straight Connector 20"/>
          <p:cNvCxnSpPr/>
          <p:nvPr/>
        </p:nvCxnSpPr>
        <p:spPr>
          <a:xfrm flipV="1">
            <a:off x="4941568" y="4905831"/>
            <a:ext cx="3528392" cy="25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723488" y="2605088"/>
            <a:ext cx="3528392" cy="25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4869396" y="2627951"/>
            <a:ext cx="3528392" cy="25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2130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/>
        </p:nvSpPr>
        <p:spPr bwMode="auto">
          <a:xfrm>
            <a:off x="6732588" y="6381750"/>
            <a:ext cx="2060575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sr-Latn-R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r"/>
            <a:endParaRPr lang="hr-HR" sz="1050" dirty="0">
              <a:solidFill>
                <a:schemeClr val="bg1"/>
              </a:solidFill>
            </a:endParaRPr>
          </a:p>
        </p:txBody>
      </p:sp>
      <p:sp>
        <p:nvSpPr>
          <p:cNvPr id="8" name="Text Placeholder 2"/>
          <p:cNvSpPr txBox="1">
            <a:spLocks/>
          </p:cNvSpPr>
          <p:nvPr/>
        </p:nvSpPr>
        <p:spPr bwMode="auto">
          <a:xfrm>
            <a:off x="1620000" y="180000"/>
            <a:ext cx="7219200" cy="432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lan i buduće aktivnosti HBOR-a</a:t>
            </a:r>
          </a:p>
          <a:p>
            <a:pPr eaLnBrk="1" hangingPunct="1">
              <a:spcBef>
                <a:spcPts val="0"/>
              </a:spcBef>
            </a:pPr>
            <a:endParaRPr lang="en-US" b="1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2137848653"/>
              </p:ext>
            </p:extLst>
          </p:nvPr>
        </p:nvGraphicFramePr>
        <p:xfrm>
          <a:off x="630743" y="1212905"/>
          <a:ext cx="8136904" cy="45369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97713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Slide" r:id="rId5" imgW="362" imgH="362" progId="TCLayout.ActiveDocument.1">
                  <p:embed/>
                </p:oleObj>
              </mc:Choice>
              <mc:Fallback>
                <p:oleObj name="think-cell Slide" r:id="rId5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hr-HR" dirty="0">
              <a:solidFill>
                <a:prstClr val="white"/>
              </a:solidFill>
            </a:endParaRPr>
          </a:p>
        </p:txBody>
      </p:sp>
      <p:sp>
        <p:nvSpPr>
          <p:cNvPr id="6" name="Slide Number Placeholder 2"/>
          <p:cNvSpPr txBox="1">
            <a:spLocks/>
          </p:cNvSpPr>
          <p:nvPr/>
        </p:nvSpPr>
        <p:spPr>
          <a:xfrm>
            <a:off x="6732591" y="6381751"/>
            <a:ext cx="2060575" cy="365125"/>
          </a:xfrm>
          <a:prstGeom prst="rect">
            <a:avLst/>
          </a:prstGeom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>
            <a:defPPr>
              <a:defRPr lang="sr-Latn-R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r-HR" dirty="0">
              <a:solidFill>
                <a:prstClr val="white"/>
              </a:solidFill>
            </a:endParaRPr>
          </a:p>
        </p:txBody>
      </p:sp>
      <p:sp>
        <p:nvSpPr>
          <p:cNvPr id="7" name="Text Placeholder 2"/>
          <p:cNvSpPr txBox="1">
            <a:spLocks/>
          </p:cNvSpPr>
          <p:nvPr/>
        </p:nvSpPr>
        <p:spPr bwMode="auto">
          <a:xfrm>
            <a:off x="1620000" y="180000"/>
            <a:ext cx="7219200" cy="432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ts val="0"/>
              </a:spcBef>
            </a:pPr>
            <a:r>
              <a:rPr lang="hr-HR" b="1" dirty="0" smtClean="0"/>
              <a:t>Podrška izvoznicima</a:t>
            </a:r>
            <a:endParaRPr lang="hr-HR" b="1" dirty="0"/>
          </a:p>
          <a:p>
            <a:pPr eaLnBrk="1" hangingPunct="1">
              <a:spcBef>
                <a:spcPts val="0"/>
              </a:spcBef>
            </a:pPr>
            <a:endParaRPr lang="en-US" b="1" dirty="0"/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3876788749"/>
              </p:ext>
            </p:extLst>
          </p:nvPr>
        </p:nvGraphicFramePr>
        <p:xfrm>
          <a:off x="467543" y="1196753"/>
          <a:ext cx="8325619" cy="37444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994418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Number Placeholder 1"/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endParaRPr lang="hr-HR" altLang="sr-Latn-RS" dirty="0">
              <a:solidFill>
                <a:schemeClr val="bg1"/>
              </a:solidFill>
            </a:endParaRPr>
          </a:p>
        </p:txBody>
      </p:sp>
      <p:sp>
        <p:nvSpPr>
          <p:cNvPr id="6147" name="Text Placeholder 3"/>
          <p:cNvSpPr>
            <a:spLocks noGrp="1"/>
          </p:cNvSpPr>
          <p:nvPr>
            <p:ph type="body" sz="quarter" idx="10"/>
          </p:nvPr>
        </p:nvSpPr>
        <p:spPr bwMode="auto">
          <a:xfrm>
            <a:off x="2627784" y="188913"/>
            <a:ext cx="6120929" cy="431800"/>
          </a:xfrm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buFont typeface="Arial" charset="0"/>
              <a:buNone/>
              <a:defRPr/>
            </a:pPr>
            <a:endParaRPr lang="hr-HR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eaLnBrk="1" hangingPunct="1">
              <a:buFont typeface="Arial" charset="0"/>
              <a:buNone/>
              <a:defRPr/>
            </a:pPr>
            <a:endParaRPr lang="hr-HR" dirty="0" smtClean="0"/>
          </a:p>
        </p:txBody>
      </p:sp>
      <p:sp>
        <p:nvSpPr>
          <p:cNvPr id="2" name="TextBox 1"/>
          <p:cNvSpPr txBox="1"/>
          <p:nvPr/>
        </p:nvSpPr>
        <p:spPr>
          <a:xfrm>
            <a:off x="4211960" y="159048"/>
            <a:ext cx="46805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hr-HR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rPr>
              <a:t>HBOR kao osiguratelj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0162" y="4567953"/>
            <a:ext cx="2658086" cy="172531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17818" y="1061563"/>
            <a:ext cx="8777669" cy="64633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hr-HR" dirty="0">
                <a:solidFill>
                  <a:schemeClr val="tx2"/>
                </a:solidFill>
              </a:rPr>
              <a:t>HBOR u ime i za račun RH obavlja </a:t>
            </a:r>
            <a:r>
              <a:rPr lang="hr-HR" b="1" dirty="0">
                <a:solidFill>
                  <a:schemeClr val="tx2"/>
                </a:solidFill>
              </a:rPr>
              <a:t>poslove osiguranja izvoza od netržišnih političkih i komercijalnih rizika 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1513839078"/>
              </p:ext>
            </p:extLst>
          </p:nvPr>
        </p:nvGraphicFramePr>
        <p:xfrm>
          <a:off x="296057" y="1844824"/>
          <a:ext cx="8847943" cy="28935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66307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/>
          <p:cNvSpPr txBox="1">
            <a:spLocks/>
          </p:cNvSpPr>
          <p:nvPr/>
        </p:nvSpPr>
        <p:spPr>
          <a:xfrm>
            <a:off x="827584" y="188640"/>
            <a:ext cx="8099425" cy="533365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297" kern="1200">
                <a:solidFill>
                  <a:schemeClr val="tx1"/>
                </a:solidFill>
                <a:latin typeface="Neo Sans Medium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hr-HR" sz="2000" b="1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OVO - ESIF ‘’KREDITI </a:t>
            </a:r>
            <a:r>
              <a:rPr lang="hr-HR" sz="2000" b="1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ZA RAST I </a:t>
            </a:r>
            <a:r>
              <a:rPr lang="hr-HR" sz="2000" b="1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AZVOJ’’</a:t>
            </a:r>
            <a:endParaRPr lang="hr-HR" sz="2000" b="1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9" name="Slide Number Placeholder 3"/>
          <p:cNvSpPr txBox="1">
            <a:spLocks/>
          </p:cNvSpPr>
          <p:nvPr/>
        </p:nvSpPr>
        <p:spPr bwMode="auto">
          <a:xfrm>
            <a:off x="6732588" y="6381750"/>
            <a:ext cx="2070753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sr-Latn-R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r"/>
            <a:r>
              <a:rPr lang="hr-HR" sz="1050" dirty="0">
                <a:solidFill>
                  <a:schemeClr val="bg1"/>
                </a:solidFill>
              </a:rPr>
              <a:t>  11</a:t>
            </a: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758637733"/>
              </p:ext>
            </p:extLst>
          </p:nvPr>
        </p:nvGraphicFramePr>
        <p:xfrm>
          <a:off x="1043608" y="722005"/>
          <a:ext cx="6336704" cy="39311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397739372"/>
              </p:ext>
            </p:extLst>
          </p:nvPr>
        </p:nvGraphicFramePr>
        <p:xfrm>
          <a:off x="287524" y="4509120"/>
          <a:ext cx="7848872" cy="15841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331640" y="6235122"/>
            <a:ext cx="6336704" cy="51175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380312" y="892555"/>
            <a:ext cx="1577385" cy="94949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1786346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BOR_plavi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LongProperties xmlns="http://schemas.microsoft.com/office/2006/metadata/longProperties"/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umber xmlns="262fc8c8-dbdc-4bf2-906f-1f30b4c0cb87">10</Number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88C9521B73ACF48A2B17B35CC5DA361" ma:contentTypeVersion="1" ma:contentTypeDescription="Create a new document." ma:contentTypeScope="" ma:versionID="a9446ec65c227acfc2aa8ece012895be">
  <xsd:schema xmlns:xsd="http://www.w3.org/2001/XMLSchema" xmlns:xs="http://www.w3.org/2001/XMLSchema" xmlns:p="http://schemas.microsoft.com/office/2006/metadata/properties" xmlns:ns2="262fc8c8-dbdc-4bf2-906f-1f30b4c0cb87" targetNamespace="http://schemas.microsoft.com/office/2006/metadata/properties" ma:root="true" ma:fieldsID="678a6956778b0b68af3b0c2733172dd1" ns2:_="">
    <xsd:import namespace="262fc8c8-dbdc-4bf2-906f-1f30b4c0cb87"/>
    <xsd:element name="properties">
      <xsd:complexType>
        <xsd:sequence>
          <xsd:element name="documentManagement">
            <xsd:complexType>
              <xsd:all>
                <xsd:element ref="ns2:Numb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2fc8c8-dbdc-4bf2-906f-1f30b4c0cb87" elementFormDefault="qualified">
    <xsd:import namespace="http://schemas.microsoft.com/office/2006/documentManagement/types"/>
    <xsd:import namespace="http://schemas.microsoft.com/office/infopath/2007/PartnerControls"/>
    <xsd:element name="Number" ma:index="8" nillable="true" ma:displayName="Number" ma:internalName="Number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A9524C7-1EB1-4418-8413-DFD3A698BF5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23ACBA8-9272-4DDC-B13B-1E76912B481C}">
  <ds:schemaRefs>
    <ds:schemaRef ds:uri="http://schemas.microsoft.com/office/2006/metadata/longProperties"/>
  </ds:schemaRefs>
</ds:datastoreItem>
</file>

<file path=customXml/itemProps3.xml><?xml version="1.0" encoding="utf-8"?>
<ds:datastoreItem xmlns:ds="http://schemas.openxmlformats.org/officeDocument/2006/customXml" ds:itemID="{823128BB-C6A9-4A90-86CA-0B52F8E89E4A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262fc8c8-dbdc-4bf2-906f-1f30b4c0cb87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F94C5CC9-869C-4AF7-AA75-91E48E3DA5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62fc8c8-dbdc-4bf2-906f-1f30b4c0cb8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94</TotalTime>
  <Words>439</Words>
  <Application>Microsoft Office PowerPoint</Application>
  <PresentationFormat>On-screen Show (4:3)</PresentationFormat>
  <Paragraphs>115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Frutiger 55 Roman</vt:lpstr>
      <vt:lpstr>Neo Sans Medium</vt:lpstr>
      <vt:lpstr>Wingdings</vt:lpstr>
      <vt:lpstr>HBOR_plavi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BOR plavi</dc:title>
  <dc:creator>Topić Tamara</dc:creator>
  <cp:lastModifiedBy>Galičić Hrvoje</cp:lastModifiedBy>
  <cp:revision>122</cp:revision>
  <dcterms:created xsi:type="dcterms:W3CDTF">2012-06-05T07:23:46Z</dcterms:created>
  <dcterms:modified xsi:type="dcterms:W3CDTF">2017-05-03T14:42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isplay_urn:schemas-microsoft-com:office:office#Editor">
    <vt:lpwstr>Volović, Mario</vt:lpwstr>
  </property>
  <property fmtid="{D5CDD505-2E9C-101B-9397-08002B2CF9AE}" pid="3" name="xd_Signature">
    <vt:lpwstr/>
  </property>
  <property fmtid="{D5CDD505-2E9C-101B-9397-08002B2CF9AE}" pid="4" name="Order">
    <vt:lpwstr>700.000000000000</vt:lpwstr>
  </property>
  <property fmtid="{D5CDD505-2E9C-101B-9397-08002B2CF9AE}" pid="5" name="TemplateUrl">
    <vt:lpwstr/>
  </property>
  <property fmtid="{D5CDD505-2E9C-101B-9397-08002B2CF9AE}" pid="6" name="xd_ProgID">
    <vt:lpwstr/>
  </property>
  <property fmtid="{D5CDD505-2E9C-101B-9397-08002B2CF9AE}" pid="7" name="display_urn:schemas-microsoft-com:office:office#Author">
    <vt:lpwstr>Volović, Mario</vt:lpwstr>
  </property>
  <property fmtid="{D5CDD505-2E9C-101B-9397-08002B2CF9AE}" pid="8" name="ContentTypeId">
    <vt:lpwstr>0x010100B88C9521B73ACF48A2B17B35CC5DA361</vt:lpwstr>
  </property>
</Properties>
</file>